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1"/>
  </p:notesMasterIdLst>
  <p:sldIdLst>
    <p:sldId id="256" r:id="rId2"/>
    <p:sldId id="258" r:id="rId3"/>
    <p:sldId id="270" r:id="rId4"/>
    <p:sldId id="282" r:id="rId5"/>
    <p:sldId id="279" r:id="rId6"/>
    <p:sldId id="284" r:id="rId7"/>
    <p:sldId id="278" r:id="rId8"/>
    <p:sldId id="277" r:id="rId9"/>
    <p:sldId id="283" r:id="rId10"/>
    <p:sldId id="285" r:id="rId11"/>
    <p:sldId id="286" r:id="rId12"/>
    <p:sldId id="281" r:id="rId13"/>
    <p:sldId id="293" r:id="rId14"/>
    <p:sldId id="274" r:id="rId15"/>
    <p:sldId id="276" r:id="rId16"/>
    <p:sldId id="292" r:id="rId17"/>
    <p:sldId id="290" r:id="rId18"/>
    <p:sldId id="302" r:id="rId19"/>
    <p:sldId id="296" r:id="rId20"/>
    <p:sldId id="297" r:id="rId21"/>
    <p:sldId id="291" r:id="rId22"/>
    <p:sldId id="298" r:id="rId23"/>
    <p:sldId id="299" r:id="rId24"/>
    <p:sldId id="300" r:id="rId25"/>
    <p:sldId id="301" r:id="rId26"/>
    <p:sldId id="288" r:id="rId27"/>
    <p:sldId id="287" r:id="rId28"/>
    <p:sldId id="289" r:id="rId29"/>
    <p:sldId id="261" r:id="rId30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wolf Li" initials="CL" lastIdx="1" clrIdx="0">
    <p:extLst>
      <p:ext uri="{19B8F6BF-5375-455C-9EA6-DF929625EA0E}">
        <p15:presenceInfo xmlns:p15="http://schemas.microsoft.com/office/powerpoint/2012/main" userId="b27bd621b1cb7e8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42D3E"/>
    <a:srgbClr val="2E3744"/>
    <a:srgbClr val="E8B30A"/>
    <a:srgbClr val="262C3E"/>
    <a:srgbClr val="E0B900"/>
    <a:srgbClr val="E2B905"/>
    <a:srgbClr val="AD6B52"/>
    <a:srgbClr val="867167"/>
    <a:srgbClr val="6E64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3" autoAdjust="0"/>
    <p:restoredTop sz="96005" autoAdjust="0"/>
  </p:normalViewPr>
  <p:slideViewPr>
    <p:cSldViewPr snapToGrid="0">
      <p:cViewPr varScale="1">
        <p:scale>
          <a:sx n="56" d="100"/>
          <a:sy n="56" d="100"/>
        </p:scale>
        <p:origin x="72" y="54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2/0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4676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56690" y="4902485"/>
            <a:ext cx="5956734" cy="41653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262C3E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56690" y="5561753"/>
            <a:ext cx="376130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56690" y="5880048"/>
            <a:ext cx="376130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A139E7A8-DC53-4B63-9B51-63421FA487BF}"/>
              </a:ext>
            </a:extLst>
          </p:cNvPr>
          <p:cNvSpPr/>
          <p:nvPr userDrawn="1"/>
        </p:nvSpPr>
        <p:spPr>
          <a:xfrm>
            <a:off x="2698237" y="1"/>
            <a:ext cx="9493763" cy="6137275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EC89932C-CD00-414B-8A2F-C2332DC95551}"/>
              </a:ext>
            </a:extLst>
          </p:cNvPr>
          <p:cNvSpPr/>
          <p:nvPr userDrawn="1"/>
        </p:nvSpPr>
        <p:spPr>
          <a:xfrm>
            <a:off x="0" y="0"/>
            <a:ext cx="5648494" cy="3653606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3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0BA419B2-F987-4214-BCCC-340036588EB6}"/>
              </a:ext>
            </a:extLst>
          </p:cNvPr>
          <p:cNvSpPr/>
          <p:nvPr userDrawn="1"/>
        </p:nvSpPr>
        <p:spPr>
          <a:xfrm>
            <a:off x="0" y="-12477"/>
            <a:ext cx="5648494" cy="3488923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56691" y="3180563"/>
            <a:ext cx="4648328" cy="1721922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rgbClr val="262C3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CDA851A6-0D84-47BC-B09A-8FAE01198049}"/>
              </a:ext>
            </a:extLst>
          </p:cNvPr>
          <p:cNvSpPr/>
          <p:nvPr userDrawn="1"/>
        </p:nvSpPr>
        <p:spPr>
          <a:xfrm rot="5400000" flipV="1">
            <a:off x="-294757" y="341892"/>
            <a:ext cx="3166284" cy="2482500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955266" y="2798230"/>
            <a:ext cx="455043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956381" y="3702677"/>
            <a:ext cx="4548753" cy="895350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6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50A8ABFC-55AA-49B7-B962-53EB615ED1D2}"/>
              </a:ext>
            </a:extLst>
          </p:cNvPr>
          <p:cNvSpPr/>
          <p:nvPr userDrawn="1"/>
        </p:nvSpPr>
        <p:spPr>
          <a:xfrm rot="5400000" flipV="1">
            <a:off x="-350432" y="350432"/>
            <a:ext cx="3071465" cy="2370601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6"/>
              </a:solidFill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2E62B0A0-C07D-4961-920F-175C13E1144E}"/>
              </a:ext>
            </a:extLst>
          </p:cNvPr>
          <p:cNvSpPr/>
          <p:nvPr userDrawn="1"/>
        </p:nvSpPr>
        <p:spPr>
          <a:xfrm rot="5400000" flipV="1">
            <a:off x="-563587" y="3415969"/>
            <a:ext cx="4082440" cy="2955266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3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2/0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2/0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1B1A5C1-7A64-4558-8D7A-D7AF3C42FA8A}"/>
              </a:ext>
            </a:extLst>
          </p:cNvPr>
          <p:cNvSpPr/>
          <p:nvPr userDrawn="1"/>
        </p:nvSpPr>
        <p:spPr>
          <a:xfrm>
            <a:off x="0" y="30730"/>
            <a:ext cx="12191999" cy="6827270"/>
          </a:xfrm>
          <a:custGeom>
            <a:avLst/>
            <a:gdLst>
              <a:gd name="connsiteX0" fmla="*/ 0 w 12191999"/>
              <a:gd name="connsiteY0" fmla="*/ 0 h 6827270"/>
              <a:gd name="connsiteX1" fmla="*/ 12191999 w 12191999"/>
              <a:gd name="connsiteY1" fmla="*/ 4831914 h 6827270"/>
              <a:gd name="connsiteX2" fmla="*/ 12191999 w 12191999"/>
              <a:gd name="connsiteY2" fmla="*/ 6827270 h 6827270"/>
              <a:gd name="connsiteX3" fmla="*/ 0 w 12191999"/>
              <a:gd name="connsiteY3" fmla="*/ 6827270 h 6827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27270">
                <a:moveTo>
                  <a:pt x="0" y="0"/>
                </a:moveTo>
                <a:lnTo>
                  <a:pt x="12191999" y="4831914"/>
                </a:lnTo>
                <a:lnTo>
                  <a:pt x="12191999" y="6827270"/>
                </a:lnTo>
                <a:lnTo>
                  <a:pt x="0" y="6827270"/>
                </a:lnTo>
                <a:close/>
              </a:path>
            </a:pathLst>
          </a:custGeom>
          <a:solidFill>
            <a:srgbClr val="2E3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55196" y="2581384"/>
            <a:ext cx="5040804" cy="1473453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55196" y="4908997"/>
            <a:ext cx="50408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196" y="4612726"/>
            <a:ext cx="504080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6F8C0034-9007-403E-A28B-4739D076DCF2}"/>
              </a:ext>
            </a:extLst>
          </p:cNvPr>
          <p:cNvSpPr/>
          <p:nvPr userDrawn="1"/>
        </p:nvSpPr>
        <p:spPr>
          <a:xfrm>
            <a:off x="5308978" y="1"/>
            <a:ext cx="6883021" cy="4826657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2/0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382014" y="6365822"/>
            <a:ext cx="2047986" cy="296272"/>
          </a:xfrm>
        </p:spPr>
        <p:txBody>
          <a:bodyPr>
            <a:normAutofit fontScale="85000" lnSpcReduction="20000"/>
          </a:bodyPr>
          <a:lstStyle/>
          <a:p>
            <a:r>
              <a:rPr lang="en-US" altLang="zh-CN" dirty="0"/>
              <a:t>Cwolf9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640665" y="2857503"/>
            <a:ext cx="5672759" cy="1721922"/>
          </a:xfrm>
        </p:spPr>
        <p:txBody>
          <a:bodyPr/>
          <a:lstStyle/>
          <a:p>
            <a:r>
              <a:rPr lang="en-US" altLang="zh-CN" sz="6600" dirty="0"/>
              <a:t>STL</a:t>
            </a:r>
            <a:r>
              <a:rPr lang="zh-CN" altLang="en-US" sz="6600" dirty="0"/>
              <a:t>讲解</a:t>
            </a:r>
            <a:r>
              <a:rPr lang="en-US" altLang="zh-CN" sz="6600" dirty="0"/>
              <a:t>&amp;&amp;DP</a:t>
            </a:r>
            <a:r>
              <a:rPr lang="zh-CN" altLang="en-US" sz="6600" dirty="0"/>
              <a:t>入门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56565" y="5969539"/>
            <a:ext cx="3761306" cy="296271"/>
          </a:xfrm>
        </p:spPr>
        <p:txBody>
          <a:bodyPr/>
          <a:lstStyle/>
          <a:p>
            <a:r>
              <a:rPr lang="zh-CN" altLang="en-US" dirty="0"/>
              <a:t>长理</a:t>
            </a:r>
            <a:r>
              <a:rPr lang="en-US" altLang="zh-CN" dirty="0" err="1"/>
              <a:t>ACMore</a:t>
            </a:r>
            <a:r>
              <a:rPr lang="zh-CN" altLang="en-US" dirty="0"/>
              <a:t>协会</a:t>
            </a:r>
            <a:r>
              <a:rPr lang="en-US" altLang="zh-CN" dirty="0"/>
              <a:t>&amp;ACM</a:t>
            </a:r>
            <a:r>
              <a:rPr lang="zh-CN" altLang="en-US" dirty="0"/>
              <a:t>集训队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6565" y="6365823"/>
            <a:ext cx="3761305" cy="296271"/>
          </a:xfrm>
        </p:spPr>
        <p:txBody>
          <a:bodyPr/>
          <a:lstStyle/>
          <a:p>
            <a:r>
              <a:rPr lang="en-US" altLang="en-US" dirty="0"/>
              <a:t>http://csustacm.com:4803/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dirty="0">
                <a:solidFill>
                  <a:srgbClr val="0070C0"/>
                </a:solidFill>
              </a:rPr>
              <a:t>set</a:t>
            </a:r>
            <a:r>
              <a:rPr lang="zh-CN" altLang="en-US" sz="4000" dirty="0">
                <a:solidFill>
                  <a:srgbClr val="0070C0"/>
                </a:solidFill>
              </a:rPr>
              <a:t>相关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D6D94EE-66AD-4047-9945-016D0F5DADDB}"/>
              </a:ext>
            </a:extLst>
          </p:cNvPr>
          <p:cNvSpPr txBox="1"/>
          <p:nvPr/>
        </p:nvSpPr>
        <p:spPr>
          <a:xfrm>
            <a:off x="7131661" y="3102587"/>
            <a:ext cx="255069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/>
              <a:t>迭代器：</a:t>
            </a:r>
            <a:endParaRPr lang="en-US" altLang="zh-CN" sz="2400" b="1" dirty="0"/>
          </a:p>
          <a:p>
            <a:endParaRPr lang="en-US" altLang="zh-CN" sz="2400" b="1" dirty="0"/>
          </a:p>
          <a:p>
            <a:r>
              <a:rPr lang="en-US" altLang="zh-CN" dirty="0"/>
              <a:t>set&lt;int&gt; </a:t>
            </a:r>
            <a:r>
              <a:rPr lang="en-US" altLang="zh-CN" dirty="0" err="1"/>
              <a:t>st</a:t>
            </a:r>
            <a:r>
              <a:rPr lang="en-US" altLang="zh-CN" dirty="0"/>
              <a:t>;</a:t>
            </a:r>
          </a:p>
          <a:p>
            <a:r>
              <a:rPr lang="en-US" altLang="zh-CN" dirty="0"/>
              <a:t>set&lt;int&gt;:: iterator it;</a:t>
            </a:r>
          </a:p>
          <a:p>
            <a:r>
              <a:rPr lang="en-US" altLang="zh-CN" dirty="0"/>
              <a:t>it = </a:t>
            </a:r>
            <a:r>
              <a:rPr lang="en-US" altLang="zh-CN" dirty="0" err="1"/>
              <a:t>st.lower_bound</a:t>
            </a:r>
            <a:r>
              <a:rPr lang="en-US" altLang="zh-CN" dirty="0"/>
              <a:t>(10)</a:t>
            </a:r>
          </a:p>
          <a:p>
            <a:r>
              <a:rPr lang="en-US" altLang="zh-CN" dirty="0"/>
              <a:t>it = </a:t>
            </a:r>
            <a:r>
              <a:rPr lang="en-US" altLang="zh-CN" dirty="0" err="1"/>
              <a:t>st.find</a:t>
            </a:r>
            <a:r>
              <a:rPr lang="en-US" altLang="zh-CN" dirty="0"/>
              <a:t>(10)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E3C2CE5-E4B6-4CB7-A3D0-2F24566A2AFB}"/>
              </a:ext>
            </a:extLst>
          </p:cNvPr>
          <p:cNvSpPr txBox="1"/>
          <p:nvPr/>
        </p:nvSpPr>
        <p:spPr>
          <a:xfrm>
            <a:off x="669924" y="2961385"/>
            <a:ext cx="451167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#include&lt;set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insert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begin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end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clear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empty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size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erase()</a:t>
            </a:r>
            <a:endParaRPr lang="zh-CN" altLang="en-US" sz="24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0E4A59C-435F-4EBA-8B64-3FAEE70713C6}"/>
              </a:ext>
            </a:extLst>
          </p:cNvPr>
          <p:cNvSpPr txBox="1"/>
          <p:nvPr/>
        </p:nvSpPr>
        <p:spPr>
          <a:xfrm>
            <a:off x="669924" y="1394878"/>
            <a:ext cx="760496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/>
              <a:t>set</a:t>
            </a:r>
            <a:r>
              <a:rPr lang="en-US" altLang="zh-CN" sz="2400" dirty="0"/>
              <a:t>:</a:t>
            </a:r>
            <a:r>
              <a:rPr lang="zh-CN" altLang="en-US" sz="2400" dirty="0"/>
              <a:t>元素自动有序，没有重复元素</a:t>
            </a:r>
            <a:endParaRPr lang="en-US" altLang="zh-CN" sz="2400" dirty="0"/>
          </a:p>
          <a:p>
            <a:r>
              <a:rPr lang="en-US" altLang="zh-CN" sz="2400" b="1" dirty="0"/>
              <a:t>multiset</a:t>
            </a:r>
            <a:r>
              <a:rPr lang="en-US" altLang="zh-CN" sz="2400" dirty="0"/>
              <a:t>:</a:t>
            </a:r>
            <a:r>
              <a:rPr lang="zh-CN" altLang="en-US" sz="2400" dirty="0"/>
              <a:t>可有重复元素，删除的话，相同的一起删除；</a:t>
            </a:r>
            <a:endParaRPr lang="en-US" altLang="zh-CN" sz="2400" dirty="0"/>
          </a:p>
          <a:p>
            <a:r>
              <a:rPr lang="zh-CN" altLang="en-US" sz="2400" dirty="0"/>
              <a:t>查找的话，若有相同，返回第一个元素的地址；</a:t>
            </a:r>
          </a:p>
        </p:txBody>
      </p:sp>
    </p:spTree>
    <p:extLst>
      <p:ext uri="{BB962C8B-B14F-4D97-AF65-F5344CB8AC3E}">
        <p14:creationId xmlns:p14="http://schemas.microsoft.com/office/powerpoint/2010/main" val="3902164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>
                <a:solidFill>
                  <a:srgbClr val="0070C0"/>
                </a:solidFill>
              </a:rPr>
              <a:t>算法</a:t>
            </a:r>
            <a:r>
              <a:rPr lang="en-US" altLang="zh-CN" sz="4000" dirty="0">
                <a:solidFill>
                  <a:srgbClr val="0070C0"/>
                </a:solidFill>
              </a:rPr>
              <a:t>&lt;algorithm&gt;</a:t>
            </a:r>
            <a:endParaRPr lang="zh-CN" altLang="en-US" sz="4000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440B957-F0F8-4C25-A6B7-289827CB4D76}"/>
              </a:ext>
            </a:extLst>
          </p:cNvPr>
          <p:cNvSpPr txBox="1"/>
          <p:nvPr/>
        </p:nvSpPr>
        <p:spPr>
          <a:xfrm>
            <a:off x="669924" y="1485900"/>
            <a:ext cx="9119804" cy="39044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/>
              <a:t>#include&lt;algorithm&gt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/>
              <a:t>accumulate</a:t>
            </a:r>
            <a:r>
              <a:rPr lang="zh-CN" altLang="en-US" sz="2400" dirty="0"/>
              <a:t>累加序列地所有元素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 err="1"/>
              <a:t>next_permutation</a:t>
            </a:r>
            <a:r>
              <a:rPr lang="zh-CN" altLang="en-US" sz="2400" dirty="0"/>
              <a:t>依照字典序生成序列地下一个稍大的排列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/>
              <a:t>reverse</a:t>
            </a:r>
            <a:r>
              <a:rPr lang="zh-CN" altLang="en-US" sz="2400" dirty="0"/>
              <a:t>将给定序列反转顺序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/>
              <a:t>unique</a:t>
            </a:r>
            <a:r>
              <a:rPr lang="zh-CN" altLang="en-US" sz="2400" dirty="0"/>
              <a:t>移除连续的重复元素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 err="1"/>
              <a:t>lower_bound</a:t>
            </a:r>
            <a:r>
              <a:rPr lang="zh-CN" altLang="en-US" sz="2400" dirty="0"/>
              <a:t>查找第一个插入元素但不影响序列有序性的位置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 err="1"/>
              <a:t>upper_bound</a:t>
            </a:r>
            <a:r>
              <a:rPr lang="zh-CN" altLang="en-US" sz="2400" dirty="0"/>
              <a:t>搜索最后一个插入元素并能维持序列有序性的位置</a:t>
            </a:r>
          </a:p>
        </p:txBody>
      </p:sp>
    </p:spTree>
    <p:extLst>
      <p:ext uri="{BB962C8B-B14F-4D97-AF65-F5344CB8AC3E}">
        <p14:creationId xmlns:p14="http://schemas.microsoft.com/office/powerpoint/2010/main" val="2351685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3603980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DP</a:t>
            </a:r>
            <a:r>
              <a:rPr lang="zh-CN" altLang="en-US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入门</a:t>
            </a:r>
          </a:p>
        </p:txBody>
      </p:sp>
    </p:spTree>
    <p:extLst>
      <p:ext uri="{BB962C8B-B14F-4D97-AF65-F5344CB8AC3E}">
        <p14:creationId xmlns:p14="http://schemas.microsoft.com/office/powerpoint/2010/main" val="5773506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4000" dirty="0"/>
              <a:t>动态规划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01F9EF9-EAF0-4389-9B35-DCDF502C7AD1}"/>
              </a:ext>
            </a:extLst>
          </p:cNvPr>
          <p:cNvSpPr txBox="1"/>
          <p:nvPr/>
        </p:nvSpPr>
        <p:spPr>
          <a:xfrm>
            <a:off x="457200" y="1641231"/>
            <a:ext cx="101184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“动态规划是针对于一类求最优解问题的算法，其核心是将一个问题分解</a:t>
            </a:r>
            <a:endParaRPr lang="en-US" altLang="zh-CN" sz="2400" dirty="0"/>
          </a:p>
          <a:p>
            <a:r>
              <a:rPr lang="zh-CN" altLang="en-US" sz="2400" dirty="0"/>
              <a:t>为若干子问题（类似于分治思想），通过每一次的最优决策，来得出一个</a:t>
            </a:r>
            <a:endParaRPr lang="en-US" altLang="zh-CN" sz="2400" dirty="0"/>
          </a:p>
          <a:p>
            <a:r>
              <a:rPr lang="zh-CN" altLang="en-US" sz="2400" dirty="0"/>
              <a:t>最优解。”                                                                      </a:t>
            </a:r>
            <a:r>
              <a:rPr lang="en-US" altLang="zh-CN" sz="2400" dirty="0"/>
              <a:t>--from </a:t>
            </a:r>
            <a:r>
              <a:rPr lang="zh-CN" altLang="en-US" sz="2400" dirty="0"/>
              <a:t>南理工罗睿 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0E20BA3-F0CD-48E9-89E5-9F6BA542C0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4426" y="4000144"/>
            <a:ext cx="2381250" cy="186690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8D7B97F-C533-47AA-A084-F7522E9CD0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4258052"/>
            <a:ext cx="169545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846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常劝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32DB64D-268F-49A3-93C6-B569C71736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815" y="1802307"/>
            <a:ext cx="4259873" cy="425987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CC2C21D-194D-4F3E-88D9-8A4E419F35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802307"/>
            <a:ext cx="4953000" cy="395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18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数字三角形问题</a:t>
            </a:r>
            <a:r>
              <a:rPr lang="en-US" altLang="zh-CN" dirty="0">
                <a:solidFill>
                  <a:srgbClr val="0070C0"/>
                </a:solidFill>
              </a:rPr>
              <a:t>-hdu2084</a:t>
            </a:r>
            <a:endParaRPr lang="zh-CN" altLang="en-US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C7A0E5-0451-4D60-ABCE-B5C0C232A771}"/>
              </a:ext>
            </a:extLst>
          </p:cNvPr>
          <p:cNvSpPr txBox="1"/>
          <p:nvPr/>
        </p:nvSpPr>
        <p:spPr>
          <a:xfrm>
            <a:off x="751986" y="1383323"/>
            <a:ext cx="1162690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       </a:t>
            </a:r>
            <a:r>
              <a:rPr lang="zh-CN" altLang="en-US" sz="2000" dirty="0"/>
              <a:t>有一个由非负整数组成的三角形，第一行只有一个数，除了最下行之外每个数的左下方和右下方</a:t>
            </a:r>
            <a:endParaRPr lang="en-US" altLang="zh-CN" sz="2000" dirty="0"/>
          </a:p>
          <a:p>
            <a:r>
              <a:rPr lang="zh-CN" altLang="en-US" sz="2000" dirty="0"/>
              <a:t>各有一一个数。从第一行开始每次可以</a:t>
            </a:r>
            <a:r>
              <a:rPr lang="zh-CN" altLang="en-US" sz="2000" dirty="0">
                <a:solidFill>
                  <a:srgbClr val="FF0000"/>
                </a:solidFill>
              </a:rPr>
              <a:t>往左下或右下</a:t>
            </a:r>
            <a:r>
              <a:rPr lang="zh-CN" altLang="en-US" sz="2000" dirty="0"/>
              <a:t>走一格，直到走到最下行，把</a:t>
            </a:r>
            <a:r>
              <a:rPr lang="zh-CN" altLang="en-US" sz="2000" dirty="0">
                <a:solidFill>
                  <a:srgbClr val="FF0000"/>
                </a:solidFill>
              </a:rPr>
              <a:t>沿途经过的数全部</a:t>
            </a:r>
            <a:endParaRPr lang="en-US" altLang="zh-CN" sz="2000" dirty="0">
              <a:solidFill>
                <a:srgbClr val="FF0000"/>
              </a:solidFill>
            </a:endParaRPr>
          </a:p>
          <a:p>
            <a:r>
              <a:rPr lang="zh-CN" altLang="en-US" sz="2000" dirty="0">
                <a:solidFill>
                  <a:srgbClr val="FF0000"/>
                </a:solidFill>
              </a:rPr>
              <a:t>加起来</a:t>
            </a:r>
            <a:r>
              <a:rPr lang="zh-CN" altLang="en-US" sz="2000" dirty="0"/>
              <a:t>，问走得和的最大值是多少？（</a:t>
            </a:r>
            <a:r>
              <a:rPr lang="en-US" altLang="zh-CN" sz="2000" dirty="0"/>
              <a:t>N &lt;= 100</a:t>
            </a:r>
            <a:r>
              <a:rPr lang="zh-CN" altLang="en-US" sz="2000" dirty="0"/>
              <a:t>）</a:t>
            </a:r>
          </a:p>
        </p:txBody>
      </p:sp>
      <p:pic>
        <p:nvPicPr>
          <p:cNvPr id="9" name="Picture 5" descr="9-7-1">
            <a:extLst>
              <a:ext uri="{FF2B5EF4-FFF2-40B4-BE49-F238E27FC236}">
                <a16:creationId xmlns:a16="http://schemas.microsoft.com/office/drawing/2014/main" id="{7B9DC363-D55A-4286-BF43-1B6210032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2887" y="2497014"/>
            <a:ext cx="5797550" cy="394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68487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数字三角形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1989E30-7904-4EA6-974C-7AE6EA19288F}"/>
              </a:ext>
            </a:extLst>
          </p:cNvPr>
          <p:cNvSpPr txBox="1"/>
          <p:nvPr/>
        </p:nvSpPr>
        <p:spPr>
          <a:xfrm>
            <a:off x="1031631" y="1441938"/>
            <a:ext cx="63832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/>
              <a:t>用</a:t>
            </a:r>
            <a:r>
              <a:rPr lang="zh-CN" altLang="en-US" sz="6000" dirty="0">
                <a:solidFill>
                  <a:srgbClr val="FF0000"/>
                </a:solidFill>
              </a:rPr>
              <a:t>暴力</a:t>
            </a:r>
            <a:r>
              <a:rPr lang="zh-CN" altLang="en-US" sz="4000" dirty="0"/>
              <a:t>得方法，可以吗？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5F247E5-635B-4DE1-8AA1-9C9D3DE6AC96}"/>
              </a:ext>
            </a:extLst>
          </p:cNvPr>
          <p:cNvSpPr txBox="1"/>
          <p:nvPr/>
        </p:nvSpPr>
        <p:spPr>
          <a:xfrm>
            <a:off x="1031718" y="2960729"/>
            <a:ext cx="1048876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这道题如果用枚举法（暴力思想），在数塔层数稍大的</a:t>
            </a:r>
            <a:endParaRPr lang="en-US" altLang="zh-CN" sz="3200" dirty="0"/>
          </a:p>
          <a:p>
            <a:r>
              <a:rPr lang="zh-CN" altLang="en-US" sz="3200" dirty="0"/>
              <a:t>情况下（如</a:t>
            </a:r>
            <a:r>
              <a:rPr lang="en-US" altLang="zh-CN" sz="3200" dirty="0"/>
              <a:t>31</a:t>
            </a:r>
            <a:r>
              <a:rPr lang="zh-CN" altLang="en-US" sz="3200" dirty="0"/>
              <a:t>层），则需要列举出的路径条数将是一个非</a:t>
            </a:r>
            <a:endParaRPr lang="en-US" altLang="zh-CN" sz="3200" dirty="0"/>
          </a:p>
          <a:p>
            <a:r>
              <a:rPr lang="zh-CN" altLang="en-US" sz="3200" dirty="0"/>
              <a:t>常庞大的数目（</a:t>
            </a:r>
            <a:r>
              <a:rPr lang="en-US" altLang="zh-CN" sz="3200" dirty="0"/>
              <a:t>2^30= 1024^3 &gt; 10^9=10</a:t>
            </a:r>
            <a:r>
              <a:rPr lang="zh-CN" altLang="en-US" sz="3200" dirty="0"/>
              <a:t>亿）。</a:t>
            </a:r>
          </a:p>
        </p:txBody>
      </p:sp>
    </p:spTree>
    <p:extLst>
      <p:ext uri="{BB962C8B-B14F-4D97-AF65-F5344CB8AC3E}">
        <p14:creationId xmlns:p14="http://schemas.microsoft.com/office/powerpoint/2010/main" val="3406248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数字三角形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C7A0E5-0451-4D60-ABCE-B5C0C232A771}"/>
              </a:ext>
            </a:extLst>
          </p:cNvPr>
          <p:cNvSpPr txBox="1"/>
          <p:nvPr/>
        </p:nvSpPr>
        <p:spPr>
          <a:xfrm>
            <a:off x="751986" y="2317201"/>
            <a:ext cx="104422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定义</a:t>
            </a:r>
            <a:r>
              <a:rPr lang="en-US" altLang="zh-CN" sz="2800" dirty="0">
                <a:solidFill>
                  <a:srgbClr val="FF0000"/>
                </a:solidFill>
              </a:rPr>
              <a:t>d(</a:t>
            </a:r>
            <a:r>
              <a:rPr lang="en-US" altLang="zh-CN" sz="2800" dirty="0" err="1">
                <a:solidFill>
                  <a:srgbClr val="FF0000"/>
                </a:solidFill>
              </a:rPr>
              <a:t>i</a:t>
            </a:r>
            <a:r>
              <a:rPr lang="en-US" altLang="zh-CN" sz="2800" dirty="0">
                <a:solidFill>
                  <a:srgbClr val="FF0000"/>
                </a:solidFill>
              </a:rPr>
              <a:t>, j)</a:t>
            </a:r>
            <a:r>
              <a:rPr lang="zh-CN" altLang="en-US" sz="2800" dirty="0">
                <a:solidFill>
                  <a:srgbClr val="FF0000"/>
                </a:solidFill>
              </a:rPr>
              <a:t>为从格子</a:t>
            </a:r>
            <a:r>
              <a:rPr lang="en-US" altLang="zh-CN" sz="2800" dirty="0">
                <a:solidFill>
                  <a:srgbClr val="FF0000"/>
                </a:solidFill>
              </a:rPr>
              <a:t>(</a:t>
            </a:r>
            <a:r>
              <a:rPr lang="en-US" altLang="zh-CN" sz="2800" dirty="0" err="1">
                <a:solidFill>
                  <a:srgbClr val="FF0000"/>
                </a:solidFill>
              </a:rPr>
              <a:t>i</a:t>
            </a:r>
            <a:r>
              <a:rPr lang="en-US" altLang="zh-CN" sz="2800" dirty="0">
                <a:solidFill>
                  <a:srgbClr val="FF0000"/>
                </a:solidFill>
              </a:rPr>
              <a:t>, j)</a:t>
            </a:r>
            <a:r>
              <a:rPr lang="zh-CN" altLang="en-US" sz="2800" dirty="0">
                <a:solidFill>
                  <a:srgbClr val="FF0000"/>
                </a:solidFill>
              </a:rPr>
              <a:t>出发时能得到得最大和</a:t>
            </a:r>
            <a:r>
              <a:rPr lang="en-US" altLang="zh-CN" sz="2800" dirty="0">
                <a:solidFill>
                  <a:srgbClr val="FF0000"/>
                </a:solidFill>
              </a:rPr>
              <a:t>(</a:t>
            </a:r>
            <a:r>
              <a:rPr lang="zh-CN" altLang="en-US" sz="2800" dirty="0">
                <a:solidFill>
                  <a:srgbClr val="FF0000"/>
                </a:solidFill>
              </a:rPr>
              <a:t>包括这个格子本身</a:t>
            </a:r>
            <a:r>
              <a:rPr lang="en-US" altLang="zh-CN" sz="28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4AC83BE-D6D6-49EE-976B-33CF321B7D94}"/>
              </a:ext>
            </a:extLst>
          </p:cNvPr>
          <p:cNvSpPr txBox="1"/>
          <p:nvPr/>
        </p:nvSpPr>
        <p:spPr>
          <a:xfrm>
            <a:off x="751986" y="3202690"/>
            <a:ext cx="92729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从格子</a:t>
            </a:r>
            <a:r>
              <a:rPr lang="en-US" altLang="zh-CN" sz="2800" dirty="0"/>
              <a:t>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, j)</a:t>
            </a:r>
            <a:r>
              <a:rPr lang="zh-CN" altLang="en-US" sz="2800" dirty="0"/>
              <a:t>出发有两种决策：往左下走或往右下走。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9AE5771-F7F1-4A8F-A244-658ABA588B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931" y="5041925"/>
            <a:ext cx="7309211" cy="940134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053C6BD5-F781-49AE-96D1-207EF6DAA2EC}"/>
              </a:ext>
            </a:extLst>
          </p:cNvPr>
          <p:cNvSpPr txBox="1"/>
          <p:nvPr/>
        </p:nvSpPr>
        <p:spPr>
          <a:xfrm>
            <a:off x="751986" y="1449945"/>
            <a:ext cx="72474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抽象一下问题，把当前位置</a:t>
            </a:r>
            <a:r>
              <a:rPr lang="en-US" altLang="zh-CN" sz="2800" dirty="0"/>
              <a:t>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, j)</a:t>
            </a:r>
            <a:r>
              <a:rPr lang="zh-CN" altLang="en-US" sz="2800" dirty="0"/>
              <a:t>看成一个状态</a:t>
            </a:r>
            <a:endParaRPr lang="en-US" altLang="zh-CN" sz="28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11E7F34-24A1-4828-9DD7-1BFBB2C90159}"/>
              </a:ext>
            </a:extLst>
          </p:cNvPr>
          <p:cNvSpPr txBox="1"/>
          <p:nvPr/>
        </p:nvSpPr>
        <p:spPr>
          <a:xfrm>
            <a:off x="751986" y="4278832"/>
            <a:ext cx="19800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/>
              <a:t>状态转移：</a:t>
            </a:r>
          </a:p>
        </p:txBody>
      </p:sp>
    </p:spTree>
    <p:extLst>
      <p:ext uri="{BB962C8B-B14F-4D97-AF65-F5344CB8AC3E}">
        <p14:creationId xmlns:p14="http://schemas.microsoft.com/office/powerpoint/2010/main" val="435419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3" grpId="0"/>
      <p:bldP spid="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64D861-6315-41E0-AF13-789327FAC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数字三角形问题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C23161B-DE95-4DF8-96BE-478CE62CF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E4B0A90-4E0E-4566-9D04-F6D4C8F55047}"/>
              </a:ext>
            </a:extLst>
          </p:cNvPr>
          <p:cNvSpPr txBox="1"/>
          <p:nvPr/>
        </p:nvSpPr>
        <p:spPr>
          <a:xfrm>
            <a:off x="1000125" y="1800225"/>
            <a:ext cx="104390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原问题的解是</a:t>
            </a:r>
            <a:r>
              <a:rPr lang="en-US" altLang="zh-CN" sz="2800" dirty="0"/>
              <a:t>d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, j)</a:t>
            </a:r>
            <a:r>
              <a:rPr lang="zh-CN" altLang="en-US" sz="2800" dirty="0"/>
              <a:t>，现在问题转化为要先</a:t>
            </a:r>
            <a:r>
              <a:rPr lang="zh-CN" altLang="en-US" sz="2800" dirty="0">
                <a:solidFill>
                  <a:srgbClr val="FF0000"/>
                </a:solidFill>
              </a:rPr>
              <a:t>求解</a:t>
            </a:r>
            <a:r>
              <a:rPr lang="en-US" altLang="zh-CN" sz="2800" dirty="0">
                <a:solidFill>
                  <a:srgbClr val="FF0000"/>
                </a:solidFill>
              </a:rPr>
              <a:t>d(i+1,j)</a:t>
            </a:r>
            <a:r>
              <a:rPr lang="zh-CN" altLang="en-US" sz="2800" dirty="0">
                <a:solidFill>
                  <a:srgbClr val="FF0000"/>
                </a:solidFill>
              </a:rPr>
              <a:t>和</a:t>
            </a:r>
            <a:r>
              <a:rPr lang="en-US" altLang="zh-CN" sz="2800" dirty="0">
                <a:solidFill>
                  <a:srgbClr val="FF0000"/>
                </a:solidFill>
              </a:rPr>
              <a:t>d(i+1,j+1)</a:t>
            </a:r>
            <a:endParaRPr lang="zh-CN" altLang="en-US" sz="2800" dirty="0">
              <a:solidFill>
                <a:srgbClr val="FF0000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845002F-1B15-4E61-9A4D-441EFF118EDB}"/>
              </a:ext>
            </a:extLst>
          </p:cNvPr>
          <p:cNvSpPr txBox="1"/>
          <p:nvPr/>
        </p:nvSpPr>
        <p:spPr>
          <a:xfrm>
            <a:off x="1000125" y="2971800"/>
            <a:ext cx="37753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容易写出伪代码如下：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39F5138-9CE7-49CE-9B84-69A33A423658}"/>
              </a:ext>
            </a:extLst>
          </p:cNvPr>
          <p:cNvSpPr txBox="1"/>
          <p:nvPr/>
        </p:nvSpPr>
        <p:spPr>
          <a:xfrm>
            <a:off x="1133590" y="4072891"/>
            <a:ext cx="851386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/>
              <a:t>for </a:t>
            </a:r>
            <a:r>
              <a:rPr lang="en-US" altLang="zh-CN" sz="2800" b="1" dirty="0" err="1"/>
              <a:t>i</a:t>
            </a:r>
            <a:r>
              <a:rPr lang="en-US" altLang="zh-CN" sz="2800" b="1" dirty="0"/>
              <a:t> = n to 1</a:t>
            </a:r>
          </a:p>
          <a:p>
            <a:r>
              <a:rPr lang="en-US" altLang="zh-CN" sz="2800" b="1" dirty="0"/>
              <a:t>            for j = 1 to </a:t>
            </a:r>
            <a:r>
              <a:rPr lang="en-US" altLang="zh-CN" sz="2800" b="1" dirty="0" err="1"/>
              <a:t>i</a:t>
            </a:r>
            <a:endParaRPr lang="en-US" altLang="zh-CN" sz="2800" b="1" dirty="0"/>
          </a:p>
          <a:p>
            <a:r>
              <a:rPr lang="en-US" altLang="zh-CN" sz="2800" b="1" dirty="0"/>
              <a:t>                d(</a:t>
            </a:r>
            <a:r>
              <a:rPr lang="en-US" altLang="zh-CN" sz="2800" b="1" dirty="0" err="1"/>
              <a:t>i</a:t>
            </a:r>
            <a:r>
              <a:rPr lang="en-US" altLang="zh-CN" sz="2800" b="1" dirty="0"/>
              <a:t>, j) = max{d(i+1, j),d(i+1, j+1)} + </a:t>
            </a:r>
            <a:r>
              <a:rPr lang="en-US" altLang="zh-CN" sz="2800" b="1" dirty="0" err="1"/>
              <a:t>ar</a:t>
            </a:r>
            <a:r>
              <a:rPr lang="en-US" altLang="zh-CN" sz="2800" b="1" dirty="0"/>
              <a:t>[</a:t>
            </a:r>
            <a:r>
              <a:rPr lang="en-US" altLang="zh-CN" sz="2800" b="1" dirty="0" err="1"/>
              <a:t>i</a:t>
            </a:r>
            <a:r>
              <a:rPr lang="en-US" altLang="zh-CN" sz="2800" b="1" dirty="0"/>
              <a:t>][j]</a:t>
            </a:r>
            <a:endParaRPr lang="zh-CN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07139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70C0"/>
                </a:solidFill>
              </a:rPr>
              <a:t>LIS</a:t>
            </a:r>
            <a:r>
              <a:rPr lang="zh-CN" altLang="en-US" dirty="0">
                <a:solidFill>
                  <a:srgbClr val="0070C0"/>
                </a:solidFill>
              </a:rPr>
              <a:t>问题</a:t>
            </a:r>
            <a:r>
              <a:rPr lang="en-US" altLang="zh-CN" dirty="0">
                <a:solidFill>
                  <a:srgbClr val="0070C0"/>
                </a:solidFill>
              </a:rPr>
              <a:t>-poj2533hdu1257</a:t>
            </a:r>
            <a:endParaRPr lang="zh-CN" altLang="en-US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C7A0E5-0451-4D60-ABCE-B5C0C232A771}"/>
              </a:ext>
            </a:extLst>
          </p:cNvPr>
          <p:cNvSpPr txBox="1"/>
          <p:nvPr/>
        </p:nvSpPr>
        <p:spPr>
          <a:xfrm>
            <a:off x="751986" y="1383323"/>
            <a:ext cx="1140568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3600" dirty="0"/>
              <a:t>给定一个长度为</a:t>
            </a:r>
            <a:r>
              <a:rPr lang="en-US" altLang="zh-CN" sz="3600" dirty="0"/>
              <a:t>n</a:t>
            </a:r>
            <a:r>
              <a:rPr lang="zh-CN" altLang="en-US" sz="3600" dirty="0"/>
              <a:t>的序列，找出一个最长的子序列使得</a:t>
            </a:r>
            <a:endParaRPr lang="en-US" altLang="zh-CN" sz="3600" dirty="0"/>
          </a:p>
          <a:p>
            <a:r>
              <a:rPr lang="en-US" altLang="zh-CN" sz="3600" dirty="0"/>
              <a:t>   </a:t>
            </a:r>
            <a:r>
              <a:rPr lang="zh-CN" altLang="en-US" sz="3600" dirty="0"/>
              <a:t>该子序列单调上升。</a:t>
            </a:r>
            <a:endParaRPr lang="en-US" altLang="zh-CN" sz="3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3600" dirty="0"/>
              <a:t>问这种子序列最长的长度是多少？</a:t>
            </a:r>
            <a:endParaRPr lang="en-US" altLang="zh-CN" sz="3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3600" dirty="0"/>
              <a:t>n&lt;=1000</a:t>
            </a:r>
            <a:endParaRPr lang="zh-CN" altLang="en-US" sz="36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B21103A-693E-4C16-8CAF-BB6565C3389C}"/>
              </a:ext>
            </a:extLst>
          </p:cNvPr>
          <p:cNvSpPr txBox="1"/>
          <p:nvPr/>
        </p:nvSpPr>
        <p:spPr>
          <a:xfrm>
            <a:off x="751986" y="4208584"/>
            <a:ext cx="1025793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从序列</a:t>
            </a:r>
            <a:r>
              <a:rPr lang="en-US" altLang="zh-CN" sz="3200" dirty="0"/>
              <a:t>1</a:t>
            </a:r>
            <a:r>
              <a:rPr lang="zh-CN" altLang="en-US" sz="3200" dirty="0"/>
              <a:t>，</a:t>
            </a:r>
            <a:r>
              <a:rPr lang="en-US" altLang="zh-CN" sz="3200" dirty="0"/>
              <a:t>6</a:t>
            </a:r>
            <a:r>
              <a:rPr lang="zh-CN" altLang="en-US" sz="3200" dirty="0"/>
              <a:t>，</a:t>
            </a:r>
            <a:r>
              <a:rPr lang="en-US" altLang="zh-CN" sz="3200" dirty="0"/>
              <a:t>2</a:t>
            </a:r>
            <a:r>
              <a:rPr lang="zh-CN" altLang="en-US" sz="3200" dirty="0"/>
              <a:t>，</a:t>
            </a:r>
            <a:r>
              <a:rPr lang="en-US" altLang="zh-CN" sz="3200" dirty="0"/>
              <a:t>3</a:t>
            </a:r>
            <a:r>
              <a:rPr lang="zh-CN" altLang="en-US" sz="3200" dirty="0"/>
              <a:t>，</a:t>
            </a:r>
            <a:r>
              <a:rPr lang="en-US" altLang="zh-CN" sz="3200" dirty="0"/>
              <a:t>7</a:t>
            </a:r>
            <a:r>
              <a:rPr lang="zh-CN" altLang="en-US" sz="3200" dirty="0"/>
              <a:t>，</a:t>
            </a:r>
            <a:r>
              <a:rPr lang="en-US" altLang="zh-CN" sz="3200" dirty="0"/>
              <a:t>5</a:t>
            </a:r>
            <a:r>
              <a:rPr lang="zh-CN" altLang="en-US" sz="3200" dirty="0"/>
              <a:t>的最长上升子序列</a:t>
            </a:r>
            <a:r>
              <a:rPr lang="en-US" altLang="zh-CN" sz="3200" dirty="0"/>
              <a:t>1</a:t>
            </a:r>
            <a:r>
              <a:rPr lang="zh-CN" altLang="en-US" sz="3200" dirty="0"/>
              <a:t>，</a:t>
            </a:r>
            <a:r>
              <a:rPr lang="en-US" altLang="zh-CN" sz="3200" dirty="0"/>
              <a:t>2</a:t>
            </a:r>
            <a:r>
              <a:rPr lang="zh-CN" altLang="en-US" sz="3200" dirty="0"/>
              <a:t>，</a:t>
            </a:r>
            <a:r>
              <a:rPr lang="en-US" altLang="zh-CN" sz="3200" dirty="0"/>
              <a:t>3</a:t>
            </a:r>
            <a:r>
              <a:rPr lang="zh-CN" altLang="en-US" sz="3200" dirty="0"/>
              <a:t>，</a:t>
            </a:r>
            <a:r>
              <a:rPr lang="en-US" altLang="zh-CN" sz="3200" dirty="0"/>
              <a:t>5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977852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3418242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STL</a:t>
            </a:r>
            <a:r>
              <a:rPr lang="zh-CN" altLang="en-US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讲解</a:t>
            </a: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70C0"/>
                </a:solidFill>
              </a:rPr>
              <a:t>LIS</a:t>
            </a:r>
            <a:r>
              <a:rPr lang="zh-CN" altLang="en-US" dirty="0">
                <a:solidFill>
                  <a:srgbClr val="0070C0"/>
                </a:solidFill>
              </a:rPr>
              <a:t>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24EE699-5527-4ED9-8AC6-8DD18D9E4F51}"/>
              </a:ext>
            </a:extLst>
          </p:cNvPr>
          <p:cNvSpPr txBox="1"/>
          <p:nvPr/>
        </p:nvSpPr>
        <p:spPr>
          <a:xfrm>
            <a:off x="832338" y="1641231"/>
            <a:ext cx="68900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d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)</a:t>
            </a:r>
            <a:r>
              <a:rPr lang="zh-CN" altLang="en-US" sz="2800" dirty="0"/>
              <a:t>：表示以</a:t>
            </a:r>
            <a:r>
              <a:rPr lang="en-US" altLang="zh-CN" sz="2800" dirty="0" err="1"/>
              <a:t>i</a:t>
            </a:r>
            <a:r>
              <a:rPr lang="zh-CN" altLang="en-US" sz="2800" dirty="0"/>
              <a:t>结尾的最长上升子序列的长度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DCCE540-DF37-419A-8C39-B1B3DA039AD1}"/>
              </a:ext>
            </a:extLst>
          </p:cNvPr>
          <p:cNvSpPr txBox="1"/>
          <p:nvPr/>
        </p:nvSpPr>
        <p:spPr>
          <a:xfrm>
            <a:off x="821046" y="3729386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状态转移方程：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883C460-5445-4117-A4D2-EE9C8E6DA4B2}"/>
              </a:ext>
            </a:extLst>
          </p:cNvPr>
          <p:cNvSpPr txBox="1"/>
          <p:nvPr/>
        </p:nvSpPr>
        <p:spPr>
          <a:xfrm>
            <a:off x="669924" y="5817541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答案：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401AE87-A76E-456B-83CC-AD929DACD0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6826" y="4241295"/>
            <a:ext cx="6874045" cy="975474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02AA175A-B45D-4FF3-815F-40FBABAB6AD9}"/>
              </a:ext>
            </a:extLst>
          </p:cNvPr>
          <p:cNvSpPr txBox="1"/>
          <p:nvPr/>
        </p:nvSpPr>
        <p:spPr>
          <a:xfrm>
            <a:off x="2879481" y="5817541"/>
            <a:ext cx="18245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max{ d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) }</a:t>
            </a:r>
            <a:endParaRPr lang="zh-CN" altLang="en-US" sz="28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FC70ECF-53F4-4707-BEB4-4961213C7878}"/>
              </a:ext>
            </a:extLst>
          </p:cNvPr>
          <p:cNvSpPr txBox="1"/>
          <p:nvPr/>
        </p:nvSpPr>
        <p:spPr>
          <a:xfrm>
            <a:off x="871602" y="2738745"/>
            <a:ext cx="75103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d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)</a:t>
            </a:r>
            <a:r>
              <a:rPr lang="zh-CN" altLang="en-US" sz="2800" dirty="0"/>
              <a:t>由所有</a:t>
            </a:r>
            <a:r>
              <a:rPr lang="en-US" altLang="zh-CN" sz="2800" dirty="0"/>
              <a:t>d(j)</a:t>
            </a:r>
            <a:r>
              <a:rPr lang="zh-CN" altLang="en-US" sz="2800" dirty="0"/>
              <a:t>转移过来 满足</a:t>
            </a:r>
            <a:r>
              <a:rPr lang="en-US" altLang="zh-CN" sz="2800" dirty="0"/>
              <a:t> j &lt; </a:t>
            </a:r>
            <a:r>
              <a:rPr lang="en-US" altLang="zh-CN" sz="2800" dirty="0" err="1"/>
              <a:t>i</a:t>
            </a:r>
            <a:r>
              <a:rPr lang="en-US" altLang="zh-CN" sz="2800" dirty="0"/>
              <a:t> &amp;&amp; </a:t>
            </a:r>
            <a:r>
              <a:rPr lang="en-US" altLang="zh-CN" sz="2800" dirty="0" err="1"/>
              <a:t>ar</a:t>
            </a:r>
            <a:r>
              <a:rPr lang="en-US" altLang="zh-CN" sz="2800" dirty="0"/>
              <a:t>[j] &lt; </a:t>
            </a:r>
            <a:r>
              <a:rPr lang="en-US" altLang="zh-CN" sz="2800" dirty="0" err="1"/>
              <a:t>ar</a:t>
            </a:r>
            <a:r>
              <a:rPr lang="en-US" altLang="zh-CN" sz="2800" dirty="0"/>
              <a:t>[</a:t>
            </a:r>
            <a:r>
              <a:rPr lang="en-US" altLang="zh-CN" sz="2800" dirty="0" err="1"/>
              <a:t>i</a:t>
            </a:r>
            <a:r>
              <a:rPr lang="en-US" altLang="zh-CN" sz="2800" dirty="0"/>
              <a:t>]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2335145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3" grpId="0"/>
      <p:bldP spid="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70C0"/>
                </a:solidFill>
              </a:rPr>
              <a:t>0-1</a:t>
            </a:r>
            <a:r>
              <a:rPr lang="zh-CN" altLang="en-US" dirty="0">
                <a:solidFill>
                  <a:srgbClr val="0070C0"/>
                </a:solidFill>
              </a:rPr>
              <a:t>背包问题</a:t>
            </a:r>
            <a:r>
              <a:rPr lang="en-US" altLang="zh-CN">
                <a:solidFill>
                  <a:srgbClr val="0070C0"/>
                </a:solidFill>
              </a:rPr>
              <a:t>-hdu2602,uva12563</a:t>
            </a:r>
            <a:endParaRPr lang="zh-CN" altLang="en-US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C7A0E5-0451-4D60-ABCE-B5C0C232A771}"/>
              </a:ext>
            </a:extLst>
          </p:cNvPr>
          <p:cNvSpPr txBox="1"/>
          <p:nvPr/>
        </p:nvSpPr>
        <p:spPr>
          <a:xfrm>
            <a:off x="751986" y="1383323"/>
            <a:ext cx="11324510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       </a:t>
            </a:r>
            <a:r>
              <a:rPr lang="zh-CN" altLang="en-US" sz="3200" dirty="0"/>
              <a:t>有</a:t>
            </a:r>
            <a:r>
              <a:rPr lang="en-US" altLang="zh-CN" sz="3200" dirty="0"/>
              <a:t>n</a:t>
            </a:r>
            <a:r>
              <a:rPr lang="zh-CN" altLang="en-US" sz="3200" dirty="0"/>
              <a:t>种物品，每种物品</a:t>
            </a:r>
            <a:r>
              <a:rPr lang="zh-CN" altLang="en-US" sz="3200" dirty="0">
                <a:solidFill>
                  <a:srgbClr val="FF0000"/>
                </a:solidFill>
              </a:rPr>
              <a:t>仅有</a:t>
            </a:r>
            <a:r>
              <a:rPr lang="en-US" altLang="zh-CN" sz="3200" dirty="0">
                <a:solidFill>
                  <a:srgbClr val="FF0000"/>
                </a:solidFill>
              </a:rPr>
              <a:t>1</a:t>
            </a:r>
            <a:r>
              <a:rPr lang="zh-CN" altLang="en-US" sz="3200" dirty="0">
                <a:solidFill>
                  <a:srgbClr val="FF0000"/>
                </a:solidFill>
              </a:rPr>
              <a:t>个</a:t>
            </a:r>
            <a:r>
              <a:rPr lang="zh-CN" altLang="en-US" sz="3200" dirty="0"/>
              <a:t>。第</a:t>
            </a:r>
            <a:r>
              <a:rPr lang="en-US" altLang="zh-CN" sz="3200" dirty="0" err="1"/>
              <a:t>i</a:t>
            </a:r>
            <a:r>
              <a:rPr lang="zh-CN" altLang="en-US" sz="3200" dirty="0"/>
              <a:t>种物品的体积为</a:t>
            </a:r>
            <a:r>
              <a:rPr lang="en-US" altLang="zh-CN" sz="3200" dirty="0"/>
              <a:t>Vi</a:t>
            </a:r>
            <a:r>
              <a:rPr lang="zh-CN" altLang="en-US" sz="3200" dirty="0"/>
              <a:t>，价</a:t>
            </a:r>
            <a:endParaRPr lang="en-US" altLang="zh-CN" sz="3200" dirty="0"/>
          </a:p>
          <a:p>
            <a:r>
              <a:rPr lang="zh-CN" altLang="en-US" sz="3200" dirty="0"/>
              <a:t>值为</a:t>
            </a:r>
            <a:r>
              <a:rPr lang="en-US" altLang="zh-CN" sz="3200" dirty="0"/>
              <a:t>Wi</a:t>
            </a:r>
            <a:r>
              <a:rPr lang="zh-CN" altLang="en-US" sz="3200" dirty="0"/>
              <a:t>。选一些物品装到容量为</a:t>
            </a:r>
            <a:r>
              <a:rPr lang="en-US" altLang="zh-CN" sz="3200" dirty="0"/>
              <a:t>C</a:t>
            </a:r>
            <a:r>
              <a:rPr lang="zh-CN" altLang="en-US" sz="3200" dirty="0"/>
              <a:t>的背包中，使得背包内物品</a:t>
            </a:r>
            <a:endParaRPr lang="en-US" altLang="zh-CN" sz="3200" dirty="0"/>
          </a:p>
          <a:p>
            <a:r>
              <a:rPr lang="zh-CN" altLang="en-US" sz="3200" dirty="0"/>
              <a:t>在</a:t>
            </a:r>
            <a:r>
              <a:rPr lang="zh-CN" altLang="en-US" sz="3200" dirty="0">
                <a:solidFill>
                  <a:srgbClr val="FF0000"/>
                </a:solidFill>
              </a:rPr>
              <a:t>总体积不超过</a:t>
            </a:r>
            <a:r>
              <a:rPr lang="en-US" altLang="zh-CN" sz="3200" dirty="0">
                <a:solidFill>
                  <a:srgbClr val="FF0000"/>
                </a:solidFill>
              </a:rPr>
              <a:t>C</a:t>
            </a:r>
            <a:r>
              <a:rPr lang="zh-CN" altLang="en-US" sz="3200" dirty="0"/>
              <a:t>的前提下</a:t>
            </a:r>
            <a:r>
              <a:rPr lang="zh-CN" altLang="en-US" sz="3200" dirty="0">
                <a:solidFill>
                  <a:srgbClr val="FF0000"/>
                </a:solidFill>
              </a:rPr>
              <a:t>价值最大</a:t>
            </a:r>
            <a:r>
              <a:rPr lang="zh-CN" altLang="en-US" sz="3200" dirty="0"/>
              <a:t>。</a:t>
            </a:r>
            <a:endParaRPr lang="en-US" altLang="zh-CN" sz="3200" dirty="0"/>
          </a:p>
          <a:p>
            <a:r>
              <a:rPr lang="en-US" altLang="zh-CN" sz="3200" dirty="0"/>
              <a:t>(n&lt;=1e3,Vi&lt;=C&lt;=1e4,Wi&lt;=1e6)</a:t>
            </a:r>
            <a:endParaRPr lang="zh-CN" altLang="en-US" sz="32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DA63D3C-BB8D-4530-8120-F3C1C0850D95}"/>
              </a:ext>
            </a:extLst>
          </p:cNvPr>
          <p:cNvSpPr txBox="1"/>
          <p:nvPr/>
        </p:nvSpPr>
        <p:spPr>
          <a:xfrm>
            <a:off x="751986" y="4058114"/>
            <a:ext cx="1038136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有</a:t>
            </a:r>
            <a:r>
              <a:rPr lang="en-US" altLang="zh-CN" sz="3200" dirty="0"/>
              <a:t>4</a:t>
            </a:r>
            <a:r>
              <a:rPr lang="zh-CN" altLang="en-US" sz="3200" dirty="0"/>
              <a:t>种物品，</a:t>
            </a:r>
            <a:r>
              <a:rPr lang="en-US" altLang="zh-CN" sz="3200" dirty="0"/>
              <a:t>{</a:t>
            </a:r>
            <a:r>
              <a:rPr lang="zh-CN" altLang="en-US" sz="3200" dirty="0"/>
              <a:t>体积，价值</a:t>
            </a:r>
            <a:r>
              <a:rPr lang="en-US" altLang="zh-CN" sz="3200" dirty="0"/>
              <a:t>}</a:t>
            </a:r>
            <a:r>
              <a:rPr lang="zh-CN" altLang="en-US" sz="3200" dirty="0"/>
              <a:t>分别为：</a:t>
            </a:r>
            <a:r>
              <a:rPr lang="en-US" altLang="zh-CN" sz="3200" dirty="0"/>
              <a:t>{1,2}, {3,4}, {5,8},{4,7}</a:t>
            </a:r>
          </a:p>
          <a:p>
            <a:r>
              <a:rPr lang="zh-CN" altLang="en-US" sz="3200" dirty="0"/>
              <a:t>背包容量为</a:t>
            </a:r>
            <a:r>
              <a:rPr lang="en-US" altLang="zh-CN" sz="3200" dirty="0"/>
              <a:t>8</a:t>
            </a:r>
            <a:r>
              <a:rPr lang="zh-CN" altLang="en-US" sz="3200" dirty="0"/>
              <a:t>，问最大价值为多少？</a:t>
            </a:r>
          </a:p>
        </p:txBody>
      </p:sp>
    </p:spTree>
    <p:extLst>
      <p:ext uri="{BB962C8B-B14F-4D97-AF65-F5344CB8AC3E}">
        <p14:creationId xmlns:p14="http://schemas.microsoft.com/office/powerpoint/2010/main" val="1669549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70C0"/>
                </a:solidFill>
              </a:rPr>
              <a:t>0-1</a:t>
            </a:r>
            <a:r>
              <a:rPr lang="zh-CN" altLang="en-US" dirty="0">
                <a:solidFill>
                  <a:srgbClr val="0070C0"/>
                </a:solidFill>
              </a:rPr>
              <a:t>背包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C7A0E5-0451-4D60-ABCE-B5C0C232A771}"/>
              </a:ext>
            </a:extLst>
          </p:cNvPr>
          <p:cNvSpPr txBox="1"/>
          <p:nvPr/>
        </p:nvSpPr>
        <p:spPr>
          <a:xfrm>
            <a:off x="751986" y="1383323"/>
            <a:ext cx="22365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状态表示：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95FDEFE-44B9-4E1E-AEE2-1BDAF69D2E6A}"/>
              </a:ext>
            </a:extLst>
          </p:cNvPr>
          <p:cNvSpPr txBox="1"/>
          <p:nvPr/>
        </p:nvSpPr>
        <p:spPr>
          <a:xfrm>
            <a:off x="751986" y="2142742"/>
            <a:ext cx="106122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f(</a:t>
            </a:r>
            <a:r>
              <a:rPr lang="en-US" altLang="zh-CN" sz="3200" dirty="0" err="1"/>
              <a:t>i</a:t>
            </a:r>
            <a:r>
              <a:rPr lang="en-US" altLang="zh-CN" sz="3200" dirty="0"/>
              <a:t>, j)</a:t>
            </a:r>
            <a:r>
              <a:rPr lang="zh-CN" altLang="en-US" sz="3200" dirty="0"/>
              <a:t>表示考虑前</a:t>
            </a:r>
            <a:r>
              <a:rPr lang="en-US" altLang="zh-CN" sz="3200" dirty="0" err="1"/>
              <a:t>i</a:t>
            </a:r>
            <a:r>
              <a:rPr lang="zh-CN" altLang="en-US" sz="3200" dirty="0"/>
              <a:t>个物品装到容量为</a:t>
            </a:r>
            <a:r>
              <a:rPr lang="en-US" altLang="zh-CN" sz="3200" dirty="0"/>
              <a:t>j</a:t>
            </a:r>
            <a:r>
              <a:rPr lang="zh-CN" altLang="en-US" sz="3200" dirty="0"/>
              <a:t>的背包中的最大总价值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74DF22A-E7A5-4034-96AD-C3E9A0EE69E1}"/>
              </a:ext>
            </a:extLst>
          </p:cNvPr>
          <p:cNvSpPr txBox="1"/>
          <p:nvPr/>
        </p:nvSpPr>
        <p:spPr>
          <a:xfrm>
            <a:off x="686420" y="3856187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状态转移方程：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2FAD2BD-41CB-4E6C-B363-3D2050B664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4711639"/>
            <a:ext cx="9701918" cy="1117661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F1A35223-2927-4DDD-B89D-F17BBCCA2806}"/>
              </a:ext>
            </a:extLst>
          </p:cNvPr>
          <p:cNvSpPr txBox="1"/>
          <p:nvPr/>
        </p:nvSpPr>
        <p:spPr>
          <a:xfrm>
            <a:off x="686420" y="2998534"/>
            <a:ext cx="9600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当前我们只考虑第</a:t>
            </a:r>
            <a:r>
              <a:rPr lang="en-US" altLang="zh-CN" sz="2800" dirty="0" err="1"/>
              <a:t>i</a:t>
            </a:r>
            <a:r>
              <a:rPr lang="zh-CN" altLang="en-US" sz="2800" dirty="0"/>
              <a:t>件物品，它有两种选择，放进背包或不放</a:t>
            </a:r>
          </a:p>
        </p:txBody>
      </p:sp>
    </p:spTree>
    <p:extLst>
      <p:ext uri="{BB962C8B-B14F-4D97-AF65-F5344CB8AC3E}">
        <p14:creationId xmlns:p14="http://schemas.microsoft.com/office/powerpoint/2010/main" val="1416021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/>
      <p:bldP spid="6" grpId="0"/>
      <p:bldP spid="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滚动数组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C7A0E5-0451-4D60-ABCE-B5C0C232A771}"/>
              </a:ext>
            </a:extLst>
          </p:cNvPr>
          <p:cNvSpPr txBox="1"/>
          <p:nvPr/>
        </p:nvSpPr>
        <p:spPr>
          <a:xfrm>
            <a:off x="751986" y="1383323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sz="32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10DB75D-4F28-4998-9A98-35522044CA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9788" y="1386662"/>
            <a:ext cx="6753225" cy="2809875"/>
          </a:xfrm>
          <a:prstGeom prst="rect">
            <a:avLst/>
          </a:prstGeom>
        </p:spPr>
      </p:pic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90E9C00-9A4F-482C-8459-811AE911F791}"/>
              </a:ext>
            </a:extLst>
          </p:cNvPr>
          <p:cNvCxnSpPr/>
          <p:nvPr/>
        </p:nvCxnSpPr>
        <p:spPr>
          <a:xfrm>
            <a:off x="1195753" y="1554814"/>
            <a:ext cx="0" cy="2473569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EA42A591-87B1-447C-895C-DEB7953BD6DF}"/>
              </a:ext>
            </a:extLst>
          </p:cNvPr>
          <p:cNvCxnSpPr/>
          <p:nvPr/>
        </p:nvCxnSpPr>
        <p:spPr>
          <a:xfrm flipH="1">
            <a:off x="4753706" y="1195754"/>
            <a:ext cx="3856893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E36FB7D8-97E7-4811-8C56-AFAE3CD84E14}"/>
              </a:ext>
            </a:extLst>
          </p:cNvPr>
          <p:cNvSpPr txBox="1"/>
          <p:nvPr/>
        </p:nvSpPr>
        <p:spPr>
          <a:xfrm>
            <a:off x="331612" y="5282390"/>
            <a:ext cx="1087990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F</a:t>
            </a:r>
            <a:r>
              <a:rPr lang="zh-CN" altLang="en-US" sz="2800" dirty="0"/>
              <a:t>数组是从上往下计算的。在计算</a:t>
            </a:r>
            <a:r>
              <a:rPr lang="en-US" altLang="zh-CN" sz="2800" dirty="0"/>
              <a:t>f(</a:t>
            </a:r>
            <a:r>
              <a:rPr lang="en-US" altLang="zh-CN" sz="2800" dirty="0" err="1"/>
              <a:t>i</a:t>
            </a:r>
            <a:r>
              <a:rPr lang="en-US" altLang="zh-CN" sz="2800" dirty="0"/>
              <a:t>, j)</a:t>
            </a:r>
            <a:r>
              <a:rPr lang="zh-CN" altLang="en-US" sz="2800" dirty="0"/>
              <a:t>前</a:t>
            </a:r>
            <a:r>
              <a:rPr lang="en-US" altLang="zh-CN" sz="2800" dirty="0"/>
              <a:t>F[j]</a:t>
            </a:r>
            <a:r>
              <a:rPr lang="zh-CN" altLang="en-US" sz="2800" dirty="0"/>
              <a:t>里保存的就是</a:t>
            </a:r>
            <a:r>
              <a:rPr lang="en-US" altLang="zh-CN" sz="2800" dirty="0"/>
              <a:t>f(i-1, j)</a:t>
            </a:r>
            <a:r>
              <a:rPr lang="zh-CN" altLang="en-US" sz="2800" dirty="0"/>
              <a:t>的</a:t>
            </a:r>
            <a:endParaRPr lang="en-US" altLang="zh-CN" sz="2800" dirty="0"/>
          </a:p>
          <a:p>
            <a:r>
              <a:rPr lang="zh-CN" altLang="en-US" sz="2800" dirty="0"/>
              <a:t>值，而</a:t>
            </a:r>
            <a:r>
              <a:rPr lang="en-US" altLang="zh-CN" sz="2800" dirty="0"/>
              <a:t>F[j-Vi]</a:t>
            </a:r>
            <a:r>
              <a:rPr lang="zh-CN" altLang="en-US" sz="2800" dirty="0"/>
              <a:t>保存的是</a:t>
            </a:r>
            <a:r>
              <a:rPr lang="en-US" altLang="zh-CN" sz="2800" dirty="0"/>
              <a:t>f(i-1, j-Vi)</a:t>
            </a:r>
            <a:r>
              <a:rPr lang="zh-CN" altLang="en-US" sz="2800" dirty="0"/>
              <a:t>的值。注意 </a:t>
            </a:r>
            <a:r>
              <a:rPr lang="en-US" altLang="zh-CN" sz="2800" dirty="0">
                <a:solidFill>
                  <a:srgbClr val="FF0000"/>
                </a:solidFill>
              </a:rPr>
              <a:t>j </a:t>
            </a:r>
            <a:r>
              <a:rPr lang="zh-CN" altLang="en-US" sz="2800" dirty="0">
                <a:solidFill>
                  <a:srgbClr val="FF0000"/>
                </a:solidFill>
              </a:rPr>
              <a:t>必须逆序枚举</a:t>
            </a:r>
            <a:r>
              <a:rPr lang="zh-CN" altLang="en-US" sz="2800" dirty="0"/>
              <a:t>。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76F36DB-0111-4714-B95F-51E2F4739B83}"/>
              </a:ext>
            </a:extLst>
          </p:cNvPr>
          <p:cNvSpPr/>
          <p:nvPr/>
        </p:nvSpPr>
        <p:spPr>
          <a:xfrm>
            <a:off x="331612" y="4483671"/>
            <a:ext cx="26981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/>
              <a:t>考虑优化空间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9FA2E2A-DF68-4062-8137-F3BB61509B5A}"/>
              </a:ext>
            </a:extLst>
          </p:cNvPr>
          <p:cNvSpPr txBox="1"/>
          <p:nvPr/>
        </p:nvSpPr>
        <p:spPr>
          <a:xfrm>
            <a:off x="3138301" y="4491477"/>
            <a:ext cx="66800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/>
              <a:t>F[j]</a:t>
            </a:r>
            <a:r>
              <a:rPr lang="zh-CN" altLang="en-US" sz="2800" dirty="0"/>
              <a:t>表示体积为</a:t>
            </a:r>
            <a:r>
              <a:rPr lang="en-US" altLang="zh-CN" sz="2800" dirty="0"/>
              <a:t>j</a:t>
            </a:r>
            <a:r>
              <a:rPr lang="zh-CN" altLang="en-US" sz="2800" dirty="0"/>
              <a:t>的背包所能装的最大价值</a:t>
            </a:r>
          </a:p>
        </p:txBody>
      </p:sp>
    </p:spTree>
    <p:extLst>
      <p:ext uri="{BB962C8B-B14F-4D97-AF65-F5344CB8AC3E}">
        <p14:creationId xmlns:p14="http://schemas.microsoft.com/office/powerpoint/2010/main" val="1477519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18C22C-B6D7-40ED-B2EA-4641892FF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滚动数组优化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013100-0DD4-4B76-8BE7-BE62A59C6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D088B79-D7DE-4928-BE29-69D066405DE9}"/>
              </a:ext>
            </a:extLst>
          </p:cNvPr>
          <p:cNvSpPr txBox="1"/>
          <p:nvPr/>
        </p:nvSpPr>
        <p:spPr>
          <a:xfrm>
            <a:off x="669924" y="1746739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状态转移方程：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922A11D-CAB4-49B9-AFC3-9CF4D77CFC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784" y="2970884"/>
            <a:ext cx="6225350" cy="916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758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18C22C-B6D7-40ED-B2EA-4641892FF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0070C0"/>
                </a:solidFill>
              </a:rPr>
              <a:t>小结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013100-0DD4-4B76-8BE7-BE62A59C6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1B05708-EA2F-4CBB-8EA7-2F70BD157673}"/>
              </a:ext>
            </a:extLst>
          </p:cNvPr>
          <p:cNvSpPr txBox="1"/>
          <p:nvPr/>
        </p:nvSpPr>
        <p:spPr>
          <a:xfrm>
            <a:off x="855784" y="1874728"/>
            <a:ext cx="10289996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1</a:t>
            </a:r>
            <a:r>
              <a:rPr lang="zh-CN" altLang="en-US" sz="2400" dirty="0"/>
              <a:t>、具有相同子问题：首先，我们必须要保证这个问题能够分解出几</a:t>
            </a:r>
            <a:endParaRPr lang="en-US" altLang="zh-CN" sz="2400" dirty="0"/>
          </a:p>
          <a:p>
            <a:r>
              <a:rPr lang="zh-CN" altLang="en-US" sz="2400" dirty="0"/>
              <a:t>个子问题，并且能够通过这些子问题来解决这个问题。 </a:t>
            </a:r>
            <a:endParaRPr lang="en-US" altLang="zh-CN" sz="2400" dirty="0"/>
          </a:p>
          <a:p>
            <a:endParaRPr lang="zh-CN" altLang="en-US" sz="2400" dirty="0"/>
          </a:p>
          <a:p>
            <a:r>
              <a:rPr lang="en-US" altLang="zh-CN" sz="2400" dirty="0"/>
              <a:t>2</a:t>
            </a:r>
            <a:r>
              <a:rPr lang="zh-CN" altLang="en-US" sz="2400" dirty="0"/>
              <a:t>、满足最优化原理（最优子结构） 逺一个最优决策的子决策也是最优的。</a:t>
            </a:r>
            <a:endParaRPr lang="en-US" altLang="zh-CN" sz="2400" dirty="0"/>
          </a:p>
          <a:p>
            <a:r>
              <a:rPr lang="zh-CN" altLang="en-US" sz="2400" dirty="0"/>
              <a:t> </a:t>
            </a:r>
          </a:p>
          <a:p>
            <a:r>
              <a:rPr lang="en-US" altLang="zh-CN" sz="2400" dirty="0"/>
              <a:t>3</a:t>
            </a:r>
            <a:r>
              <a:rPr lang="zh-CN" altLang="en-US" sz="2400" dirty="0"/>
              <a:t>、具有无后效性逺 这是动态规划中极为重要的一点（也是有可能被考</a:t>
            </a:r>
            <a:endParaRPr lang="en-US" altLang="zh-CN" sz="2400" dirty="0"/>
          </a:p>
          <a:p>
            <a:r>
              <a:rPr lang="zh-CN" altLang="en-US" sz="2400" dirty="0"/>
              <a:t>察的一点），它要求每一个问 题的决策，不能够对解决其它未来的问题</a:t>
            </a:r>
            <a:endParaRPr lang="en-US" altLang="zh-CN" sz="2400" dirty="0"/>
          </a:p>
          <a:p>
            <a:r>
              <a:rPr lang="zh-CN" altLang="en-US" sz="2400" dirty="0"/>
              <a:t>产生影响，如果产生影响，就无法保证决策的最优性，这就 是无后效</a:t>
            </a:r>
            <a:endParaRPr lang="en-US" altLang="zh-CN" sz="2400" dirty="0"/>
          </a:p>
          <a:p>
            <a:r>
              <a:rPr lang="zh-CN" altLang="en-US" sz="2400" dirty="0"/>
              <a:t>性。往往这需要我们找到一个合适状态</a:t>
            </a:r>
          </a:p>
        </p:txBody>
      </p:sp>
    </p:spTree>
    <p:extLst>
      <p:ext uri="{BB962C8B-B14F-4D97-AF65-F5344CB8AC3E}">
        <p14:creationId xmlns:p14="http://schemas.microsoft.com/office/powerpoint/2010/main" val="36190003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望大家能坚持下去，不忘初心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25771C9-C7F7-4570-9360-CAF6DBAA5D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62" y="1616685"/>
            <a:ext cx="4696191" cy="2811826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52DC145-3D77-4633-931E-2616973337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951" y="1971857"/>
            <a:ext cx="6650895" cy="332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633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而不是整天水群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F38F641-7AAD-47ED-A560-F84D13B4EC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543731"/>
            <a:ext cx="5571392" cy="377053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0120A8B-DDBC-4233-8FB6-7D39459961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599" y="1278731"/>
            <a:ext cx="3556000" cy="471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11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好了，再劝退一波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4B3282E-C748-49B8-9CC6-4A4E70E3A8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47" y="1945665"/>
            <a:ext cx="2795221" cy="279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420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83721" y="1852722"/>
            <a:ext cx="5040804" cy="1473453"/>
          </a:xfrm>
        </p:spPr>
        <p:txBody>
          <a:bodyPr>
            <a:normAutofit/>
          </a:bodyPr>
          <a:lstStyle/>
          <a:p>
            <a:r>
              <a:rPr lang="en-US" altLang="zh-CN" sz="8000" dirty="0"/>
              <a:t>Thanks</a:t>
            </a:r>
            <a:endParaRPr lang="zh-CN" altLang="en-US" sz="80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69371" y="6423472"/>
            <a:ext cx="5040804" cy="310871"/>
          </a:xfrm>
        </p:spPr>
        <p:txBody>
          <a:bodyPr/>
          <a:lstStyle/>
          <a:p>
            <a:r>
              <a:rPr lang="en-US" altLang="en-US" dirty="0"/>
              <a:t>http://csustacm.com:4803/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73094" y="6012901"/>
            <a:ext cx="5040804" cy="296271"/>
          </a:xfrm>
        </p:spPr>
        <p:txBody>
          <a:bodyPr/>
          <a:lstStyle/>
          <a:p>
            <a:r>
              <a:rPr lang="zh-CN" altLang="en-US" dirty="0"/>
              <a:t>长理</a:t>
            </a:r>
            <a:r>
              <a:rPr lang="en-US" altLang="zh-CN" dirty="0" err="1"/>
              <a:t>ACMore</a:t>
            </a:r>
            <a:r>
              <a:rPr lang="zh-CN" altLang="en-US" dirty="0"/>
              <a:t>协会</a:t>
            </a:r>
            <a:r>
              <a:rPr lang="en-US" altLang="zh-CN" dirty="0"/>
              <a:t>&amp;ACM</a:t>
            </a:r>
            <a:r>
              <a:rPr lang="zh-CN" altLang="en-US" dirty="0"/>
              <a:t>集训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标准模板库</a:t>
            </a:r>
            <a:r>
              <a:rPr lang="en-US" altLang="zh-CN" dirty="0"/>
              <a:t>(Standard Template Library)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6BAB3C4-D8F4-483B-B246-C5677330F3CA}"/>
              </a:ext>
            </a:extLst>
          </p:cNvPr>
          <p:cNvSpPr txBox="1"/>
          <p:nvPr/>
        </p:nvSpPr>
        <p:spPr>
          <a:xfrm>
            <a:off x="669924" y="1566059"/>
            <a:ext cx="876733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      标准模板库</a:t>
            </a:r>
            <a:r>
              <a:rPr lang="en-US" altLang="zh-CN" sz="2800" dirty="0"/>
              <a:t>(Standard Template Library)</a:t>
            </a:r>
            <a:r>
              <a:rPr lang="zh-CN" altLang="en-US" sz="2800" dirty="0"/>
              <a:t>简称</a:t>
            </a:r>
            <a:r>
              <a:rPr lang="en-US" altLang="zh-CN" sz="2800" dirty="0"/>
              <a:t>STL</a:t>
            </a:r>
            <a:r>
              <a:rPr lang="zh-CN" altLang="en-US" sz="2800" dirty="0"/>
              <a:t>，</a:t>
            </a:r>
            <a:endParaRPr lang="en-US" altLang="zh-CN" sz="2800" dirty="0"/>
          </a:p>
          <a:p>
            <a:r>
              <a:rPr lang="zh-CN" altLang="en-US" sz="2800" dirty="0"/>
              <a:t>是</a:t>
            </a:r>
            <a:r>
              <a:rPr lang="en-US" altLang="zh-CN" sz="2800" dirty="0"/>
              <a:t>C++</a:t>
            </a:r>
            <a:r>
              <a:rPr lang="zh-CN" altLang="en-US" sz="2800" dirty="0"/>
              <a:t>最有特色、最实用的部分之一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CA9E86B-1A0F-43CB-998E-56116676D743}"/>
              </a:ext>
            </a:extLst>
          </p:cNvPr>
          <p:cNvSpPr txBox="1"/>
          <p:nvPr/>
        </p:nvSpPr>
        <p:spPr>
          <a:xfrm>
            <a:off x="669924" y="3043237"/>
            <a:ext cx="5493812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STL</a:t>
            </a:r>
            <a:r>
              <a:rPr lang="zh-CN" altLang="en-US" sz="3200" dirty="0"/>
              <a:t>包含：</a:t>
            </a:r>
            <a:endParaRPr lang="en-US" altLang="zh-CN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3200" b="1" dirty="0"/>
              <a:t>容器</a:t>
            </a:r>
            <a:r>
              <a:rPr lang="en-US" altLang="zh-CN" sz="3200" b="1" dirty="0"/>
              <a:t>(contain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3200" b="1" dirty="0"/>
              <a:t>迭代器</a:t>
            </a:r>
            <a:r>
              <a:rPr lang="en-US" altLang="zh-CN" sz="3200" b="1" dirty="0"/>
              <a:t>(iterato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3200" b="1" dirty="0"/>
              <a:t>算法</a:t>
            </a:r>
            <a:r>
              <a:rPr lang="en-US" altLang="zh-CN" sz="3200" b="1" dirty="0"/>
              <a:t>(algorithm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3200" b="1" dirty="0"/>
              <a:t>函数对象</a:t>
            </a:r>
            <a:r>
              <a:rPr lang="en-US" altLang="zh-CN" sz="3200" b="1" dirty="0"/>
              <a:t>(function object)</a:t>
            </a:r>
            <a:endParaRPr lang="zh-CN" alt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932024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B6C43D-091A-4B49-BF7C-588E6444F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4D086F2-E80F-4523-9A59-0691D278E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54151" y="6239615"/>
            <a:ext cx="1791922" cy="206381"/>
          </a:xfrm>
        </p:spPr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</a:rPr>
              <a:t>list,deque,bitset,rop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0B95A4E-9617-43AA-B7A2-D602E93F3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grpSp>
        <p:nvGrpSpPr>
          <p:cNvPr id="5" name="11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C389490-EA88-4EE8-911D-F3C55C47D7E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1799" y="1503884"/>
            <a:ext cx="11186812" cy="4261394"/>
            <a:chOff x="556689" y="1492031"/>
            <a:chExt cx="11186812" cy="4261394"/>
          </a:xfrm>
        </p:grpSpPr>
        <p:sp>
          <p:nvSpPr>
            <p:cNvPr id="6" name="îṩľïḍé">
              <a:extLst>
                <a:ext uri="{FF2B5EF4-FFF2-40B4-BE49-F238E27FC236}">
                  <a16:creationId xmlns:a16="http://schemas.microsoft.com/office/drawing/2014/main" id="{AF13CF24-3123-4537-AE3F-F27E37D4316B}"/>
                </a:ext>
              </a:extLst>
            </p:cNvPr>
            <p:cNvSpPr/>
            <p:nvPr/>
          </p:nvSpPr>
          <p:spPr bwMode="auto">
            <a:xfrm>
              <a:off x="4912247" y="1797897"/>
              <a:ext cx="1222193" cy="1027959"/>
            </a:xfrm>
            <a:custGeom>
              <a:avLst/>
              <a:gdLst>
                <a:gd name="T0" fmla="*/ 1027 w 1027"/>
                <a:gd name="T1" fmla="*/ 612 h 864"/>
                <a:gd name="T2" fmla="*/ 1027 w 1027"/>
                <a:gd name="T3" fmla="*/ 0 h 864"/>
                <a:gd name="T4" fmla="*/ 0 w 1027"/>
                <a:gd name="T5" fmla="*/ 431 h 864"/>
                <a:gd name="T6" fmla="*/ 433 w 1027"/>
                <a:gd name="T7" fmla="*/ 864 h 864"/>
                <a:gd name="T8" fmla="*/ 1027 w 1027"/>
                <a:gd name="T9" fmla="*/ 612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7" h="864">
                  <a:moveTo>
                    <a:pt x="1027" y="612"/>
                  </a:moveTo>
                  <a:cubicBezTo>
                    <a:pt x="1027" y="0"/>
                    <a:pt x="1027" y="0"/>
                    <a:pt x="1027" y="0"/>
                  </a:cubicBezTo>
                  <a:cubicBezTo>
                    <a:pt x="625" y="0"/>
                    <a:pt x="261" y="165"/>
                    <a:pt x="0" y="431"/>
                  </a:cubicBezTo>
                  <a:cubicBezTo>
                    <a:pt x="433" y="864"/>
                    <a:pt x="433" y="864"/>
                    <a:pt x="433" y="864"/>
                  </a:cubicBezTo>
                  <a:cubicBezTo>
                    <a:pt x="583" y="709"/>
                    <a:pt x="794" y="612"/>
                    <a:pt x="1027" y="6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ïṣḷîḋe">
              <a:extLst>
                <a:ext uri="{FF2B5EF4-FFF2-40B4-BE49-F238E27FC236}">
                  <a16:creationId xmlns:a16="http://schemas.microsoft.com/office/drawing/2014/main" id="{9A802CE0-E697-4BB2-B902-34E6268A056C}"/>
                </a:ext>
              </a:extLst>
            </p:cNvPr>
            <p:cNvSpPr/>
            <p:nvPr/>
          </p:nvSpPr>
          <p:spPr bwMode="auto">
            <a:xfrm>
              <a:off x="4420901" y="2310641"/>
              <a:ext cx="1006560" cy="1200794"/>
            </a:xfrm>
            <a:custGeom>
              <a:avLst/>
              <a:gdLst>
                <a:gd name="T0" fmla="*/ 735 w 846"/>
                <a:gd name="T1" fmla="*/ 322 h 1009"/>
                <a:gd name="T2" fmla="*/ 792 w 846"/>
                <a:gd name="T3" fmla="*/ 199 h 1009"/>
                <a:gd name="T4" fmla="*/ 630 w 846"/>
                <a:gd name="T5" fmla="*/ 37 h 1009"/>
                <a:gd name="T6" fmla="*/ 507 w 846"/>
                <a:gd name="T7" fmla="*/ 94 h 1009"/>
                <a:gd name="T8" fmla="*/ 413 w 846"/>
                <a:gd name="T9" fmla="*/ 0 h 1009"/>
                <a:gd name="T10" fmla="*/ 0 w 846"/>
                <a:gd name="T11" fmla="*/ 1009 h 1009"/>
                <a:gd name="T12" fmla="*/ 612 w 846"/>
                <a:gd name="T13" fmla="*/ 1009 h 1009"/>
                <a:gd name="T14" fmla="*/ 846 w 846"/>
                <a:gd name="T15" fmla="*/ 433 h 1009"/>
                <a:gd name="T16" fmla="*/ 735 w 846"/>
                <a:gd name="T17" fmla="*/ 322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6" h="1009">
                  <a:moveTo>
                    <a:pt x="735" y="322"/>
                  </a:moveTo>
                  <a:cubicBezTo>
                    <a:pt x="770" y="293"/>
                    <a:pt x="792" y="249"/>
                    <a:pt x="792" y="199"/>
                  </a:cubicBezTo>
                  <a:cubicBezTo>
                    <a:pt x="792" y="110"/>
                    <a:pt x="720" y="37"/>
                    <a:pt x="630" y="37"/>
                  </a:cubicBezTo>
                  <a:cubicBezTo>
                    <a:pt x="581" y="37"/>
                    <a:pt x="537" y="59"/>
                    <a:pt x="507" y="94"/>
                  </a:cubicBezTo>
                  <a:cubicBezTo>
                    <a:pt x="413" y="0"/>
                    <a:pt x="413" y="0"/>
                    <a:pt x="413" y="0"/>
                  </a:cubicBezTo>
                  <a:cubicBezTo>
                    <a:pt x="158" y="260"/>
                    <a:pt x="0" y="616"/>
                    <a:pt x="0" y="1009"/>
                  </a:cubicBezTo>
                  <a:cubicBezTo>
                    <a:pt x="612" y="1009"/>
                    <a:pt x="612" y="1009"/>
                    <a:pt x="612" y="1009"/>
                  </a:cubicBezTo>
                  <a:cubicBezTo>
                    <a:pt x="612" y="785"/>
                    <a:pt x="701" y="582"/>
                    <a:pt x="846" y="433"/>
                  </a:cubicBezTo>
                  <a:lnTo>
                    <a:pt x="735" y="3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Sḻïďè">
              <a:extLst>
                <a:ext uri="{FF2B5EF4-FFF2-40B4-BE49-F238E27FC236}">
                  <a16:creationId xmlns:a16="http://schemas.microsoft.com/office/drawing/2014/main" id="{AFE494C7-8BAB-4321-843B-E0951DF071A8}"/>
                </a:ext>
              </a:extLst>
            </p:cNvPr>
            <p:cNvSpPr/>
            <p:nvPr/>
          </p:nvSpPr>
          <p:spPr bwMode="auto">
            <a:xfrm>
              <a:off x="4420901" y="3339423"/>
              <a:ext cx="1017259" cy="1384328"/>
            </a:xfrm>
            <a:custGeom>
              <a:avLst/>
              <a:gdLst>
                <a:gd name="T0" fmla="*/ 612 w 855"/>
                <a:gd name="T1" fmla="*/ 144 h 1163"/>
                <a:gd name="T2" fmla="*/ 467 w 855"/>
                <a:gd name="T3" fmla="*/ 144 h 1163"/>
                <a:gd name="T4" fmla="*/ 306 w 855"/>
                <a:gd name="T5" fmla="*/ 0 h 1163"/>
                <a:gd name="T6" fmla="*/ 145 w 855"/>
                <a:gd name="T7" fmla="*/ 144 h 1163"/>
                <a:gd name="T8" fmla="*/ 0 w 855"/>
                <a:gd name="T9" fmla="*/ 144 h 1163"/>
                <a:gd name="T10" fmla="*/ 422 w 855"/>
                <a:gd name="T11" fmla="*/ 1163 h 1163"/>
                <a:gd name="T12" fmla="*/ 855 w 855"/>
                <a:gd name="T13" fmla="*/ 730 h 1163"/>
                <a:gd name="T14" fmla="*/ 612 w 855"/>
                <a:gd name="T15" fmla="*/ 144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5" h="1163">
                  <a:moveTo>
                    <a:pt x="612" y="144"/>
                  </a:moveTo>
                  <a:cubicBezTo>
                    <a:pt x="467" y="144"/>
                    <a:pt x="467" y="144"/>
                    <a:pt x="467" y="144"/>
                  </a:cubicBezTo>
                  <a:cubicBezTo>
                    <a:pt x="458" y="63"/>
                    <a:pt x="389" y="0"/>
                    <a:pt x="306" y="0"/>
                  </a:cubicBezTo>
                  <a:cubicBezTo>
                    <a:pt x="223" y="0"/>
                    <a:pt x="154" y="63"/>
                    <a:pt x="145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542"/>
                    <a:pt x="161" y="902"/>
                    <a:pt x="422" y="1163"/>
                  </a:cubicBezTo>
                  <a:cubicBezTo>
                    <a:pt x="855" y="730"/>
                    <a:pt x="855" y="730"/>
                    <a:pt x="855" y="730"/>
                  </a:cubicBezTo>
                  <a:cubicBezTo>
                    <a:pt x="705" y="580"/>
                    <a:pt x="612" y="373"/>
                    <a:pt x="612" y="14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ślïḋè">
              <a:extLst>
                <a:ext uri="{FF2B5EF4-FFF2-40B4-BE49-F238E27FC236}">
                  <a16:creationId xmlns:a16="http://schemas.microsoft.com/office/drawing/2014/main" id="{A9E5857A-A540-4474-8AF3-ED2A6CF0C7EC}"/>
                </a:ext>
              </a:extLst>
            </p:cNvPr>
            <p:cNvSpPr/>
            <p:nvPr/>
          </p:nvSpPr>
          <p:spPr bwMode="auto">
            <a:xfrm>
              <a:off x="4922946" y="4208538"/>
              <a:ext cx="1211493" cy="1016436"/>
            </a:xfrm>
            <a:custGeom>
              <a:avLst/>
              <a:gdLst>
                <a:gd name="T0" fmla="*/ 433 w 1018"/>
                <a:gd name="T1" fmla="*/ 0 h 854"/>
                <a:gd name="T2" fmla="*/ 323 w 1018"/>
                <a:gd name="T3" fmla="*/ 110 h 854"/>
                <a:gd name="T4" fmla="*/ 208 w 1018"/>
                <a:gd name="T5" fmla="*/ 62 h 854"/>
                <a:gd name="T6" fmla="*/ 46 w 1018"/>
                <a:gd name="T7" fmla="*/ 224 h 854"/>
                <a:gd name="T8" fmla="*/ 94 w 1018"/>
                <a:gd name="T9" fmla="*/ 339 h 854"/>
                <a:gd name="T10" fmla="*/ 0 w 1018"/>
                <a:gd name="T11" fmla="*/ 433 h 854"/>
                <a:gd name="T12" fmla="*/ 1018 w 1018"/>
                <a:gd name="T13" fmla="*/ 854 h 854"/>
                <a:gd name="T14" fmla="*/ 1018 w 1018"/>
                <a:gd name="T15" fmla="*/ 242 h 854"/>
                <a:gd name="T16" fmla="*/ 433 w 1018"/>
                <a:gd name="T17" fmla="*/ 0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" h="854">
                  <a:moveTo>
                    <a:pt x="433" y="0"/>
                  </a:moveTo>
                  <a:cubicBezTo>
                    <a:pt x="323" y="110"/>
                    <a:pt x="323" y="110"/>
                    <a:pt x="323" y="110"/>
                  </a:cubicBezTo>
                  <a:cubicBezTo>
                    <a:pt x="293" y="80"/>
                    <a:pt x="253" y="62"/>
                    <a:pt x="208" y="62"/>
                  </a:cubicBezTo>
                  <a:cubicBezTo>
                    <a:pt x="119" y="62"/>
                    <a:pt x="46" y="135"/>
                    <a:pt x="46" y="224"/>
                  </a:cubicBezTo>
                  <a:cubicBezTo>
                    <a:pt x="46" y="269"/>
                    <a:pt x="64" y="310"/>
                    <a:pt x="94" y="339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260" y="693"/>
                    <a:pt x="620" y="854"/>
                    <a:pt x="1018" y="854"/>
                  </a:cubicBezTo>
                  <a:cubicBezTo>
                    <a:pt x="1018" y="242"/>
                    <a:pt x="1018" y="242"/>
                    <a:pt x="1018" y="242"/>
                  </a:cubicBezTo>
                  <a:cubicBezTo>
                    <a:pt x="789" y="242"/>
                    <a:pt x="582" y="150"/>
                    <a:pt x="4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ş1íḓe">
              <a:extLst>
                <a:ext uri="{FF2B5EF4-FFF2-40B4-BE49-F238E27FC236}">
                  <a16:creationId xmlns:a16="http://schemas.microsoft.com/office/drawing/2014/main" id="{422CEF2B-FF5D-4EB9-B653-07532B53DFC3}"/>
                </a:ext>
              </a:extLst>
            </p:cNvPr>
            <p:cNvSpPr/>
            <p:nvPr/>
          </p:nvSpPr>
          <p:spPr bwMode="auto">
            <a:xfrm>
              <a:off x="5920453" y="4219237"/>
              <a:ext cx="1414780" cy="1005737"/>
            </a:xfrm>
            <a:custGeom>
              <a:avLst/>
              <a:gdLst>
                <a:gd name="T0" fmla="*/ 1189 w 1189"/>
                <a:gd name="T1" fmla="*/ 433 h 845"/>
                <a:gd name="T2" fmla="*/ 756 w 1189"/>
                <a:gd name="T3" fmla="*/ 0 h 845"/>
                <a:gd name="T4" fmla="*/ 180 w 1189"/>
                <a:gd name="T5" fmla="*/ 233 h 845"/>
                <a:gd name="T6" fmla="*/ 180 w 1189"/>
                <a:gd name="T7" fmla="*/ 378 h 845"/>
                <a:gd name="T8" fmla="*/ 162 w 1189"/>
                <a:gd name="T9" fmla="*/ 377 h 845"/>
                <a:gd name="T10" fmla="*/ 0 w 1189"/>
                <a:gd name="T11" fmla="*/ 539 h 845"/>
                <a:gd name="T12" fmla="*/ 162 w 1189"/>
                <a:gd name="T13" fmla="*/ 701 h 845"/>
                <a:gd name="T14" fmla="*/ 180 w 1189"/>
                <a:gd name="T15" fmla="*/ 700 h 845"/>
                <a:gd name="T16" fmla="*/ 180 w 1189"/>
                <a:gd name="T17" fmla="*/ 845 h 845"/>
                <a:gd name="T18" fmla="*/ 1189 w 1189"/>
                <a:gd name="T19" fmla="*/ 433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9" h="845">
                  <a:moveTo>
                    <a:pt x="1189" y="433"/>
                  </a:moveTo>
                  <a:cubicBezTo>
                    <a:pt x="756" y="0"/>
                    <a:pt x="756" y="0"/>
                    <a:pt x="756" y="0"/>
                  </a:cubicBezTo>
                  <a:cubicBezTo>
                    <a:pt x="607" y="144"/>
                    <a:pt x="404" y="233"/>
                    <a:pt x="180" y="233"/>
                  </a:cubicBezTo>
                  <a:cubicBezTo>
                    <a:pt x="180" y="378"/>
                    <a:pt x="180" y="378"/>
                    <a:pt x="180" y="378"/>
                  </a:cubicBezTo>
                  <a:cubicBezTo>
                    <a:pt x="174" y="378"/>
                    <a:pt x="168" y="377"/>
                    <a:pt x="162" y="377"/>
                  </a:cubicBezTo>
                  <a:cubicBezTo>
                    <a:pt x="73" y="377"/>
                    <a:pt x="0" y="450"/>
                    <a:pt x="0" y="539"/>
                  </a:cubicBezTo>
                  <a:cubicBezTo>
                    <a:pt x="0" y="629"/>
                    <a:pt x="73" y="701"/>
                    <a:pt x="162" y="701"/>
                  </a:cubicBezTo>
                  <a:cubicBezTo>
                    <a:pt x="168" y="701"/>
                    <a:pt x="174" y="701"/>
                    <a:pt x="180" y="700"/>
                  </a:cubicBezTo>
                  <a:cubicBezTo>
                    <a:pt x="180" y="845"/>
                    <a:pt x="180" y="845"/>
                    <a:pt x="180" y="845"/>
                  </a:cubicBezTo>
                  <a:cubicBezTo>
                    <a:pt x="573" y="845"/>
                    <a:pt x="929" y="688"/>
                    <a:pt x="1189" y="4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$ḷiďé">
              <a:extLst>
                <a:ext uri="{FF2B5EF4-FFF2-40B4-BE49-F238E27FC236}">
                  <a16:creationId xmlns:a16="http://schemas.microsoft.com/office/drawing/2014/main" id="{85E0C05A-7091-46F3-8EEA-58F2CB7ED1A2}"/>
                </a:ext>
              </a:extLst>
            </p:cNvPr>
            <p:cNvSpPr/>
            <p:nvPr/>
          </p:nvSpPr>
          <p:spPr bwMode="auto">
            <a:xfrm>
              <a:off x="6820019" y="3511436"/>
              <a:ext cx="1027959" cy="1223015"/>
            </a:xfrm>
            <a:custGeom>
              <a:avLst/>
              <a:gdLst>
                <a:gd name="T0" fmla="*/ 252 w 864"/>
                <a:gd name="T1" fmla="*/ 0 h 1028"/>
                <a:gd name="T2" fmla="*/ 0 w 864"/>
                <a:gd name="T3" fmla="*/ 595 h 1028"/>
                <a:gd name="T4" fmla="*/ 114 w 864"/>
                <a:gd name="T5" fmla="*/ 708 h 1028"/>
                <a:gd name="T6" fmla="*/ 36 w 864"/>
                <a:gd name="T7" fmla="*/ 846 h 1028"/>
                <a:gd name="T8" fmla="*/ 198 w 864"/>
                <a:gd name="T9" fmla="*/ 1008 h 1028"/>
                <a:gd name="T10" fmla="*/ 336 w 864"/>
                <a:gd name="T11" fmla="*/ 931 h 1028"/>
                <a:gd name="T12" fmla="*/ 433 w 864"/>
                <a:gd name="T13" fmla="*/ 1028 h 1028"/>
                <a:gd name="T14" fmla="*/ 864 w 864"/>
                <a:gd name="T15" fmla="*/ 0 h 1028"/>
                <a:gd name="T16" fmla="*/ 252 w 864"/>
                <a:gd name="T17" fmla="*/ 0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4" h="1028">
                  <a:moveTo>
                    <a:pt x="252" y="0"/>
                  </a:moveTo>
                  <a:cubicBezTo>
                    <a:pt x="252" y="234"/>
                    <a:pt x="156" y="444"/>
                    <a:pt x="0" y="595"/>
                  </a:cubicBezTo>
                  <a:cubicBezTo>
                    <a:pt x="114" y="708"/>
                    <a:pt x="114" y="708"/>
                    <a:pt x="114" y="708"/>
                  </a:cubicBezTo>
                  <a:cubicBezTo>
                    <a:pt x="67" y="736"/>
                    <a:pt x="36" y="788"/>
                    <a:pt x="36" y="846"/>
                  </a:cubicBezTo>
                  <a:cubicBezTo>
                    <a:pt x="36" y="936"/>
                    <a:pt x="109" y="1008"/>
                    <a:pt x="198" y="1008"/>
                  </a:cubicBezTo>
                  <a:cubicBezTo>
                    <a:pt x="257" y="1008"/>
                    <a:pt x="308" y="977"/>
                    <a:pt x="336" y="931"/>
                  </a:cubicBezTo>
                  <a:cubicBezTo>
                    <a:pt x="433" y="1028"/>
                    <a:pt x="433" y="1028"/>
                    <a:pt x="433" y="1028"/>
                  </a:cubicBezTo>
                  <a:cubicBezTo>
                    <a:pt x="699" y="766"/>
                    <a:pt x="864" y="403"/>
                    <a:pt x="864" y="0"/>
                  </a:cubicBezTo>
                  <a:lnTo>
                    <a:pt x="25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Sľïḍè">
              <a:extLst>
                <a:ext uri="{FF2B5EF4-FFF2-40B4-BE49-F238E27FC236}">
                  <a16:creationId xmlns:a16="http://schemas.microsoft.com/office/drawing/2014/main" id="{9CF1A604-37E9-4D11-B709-D545FBE80736}"/>
                </a:ext>
              </a:extLst>
            </p:cNvPr>
            <p:cNvSpPr/>
            <p:nvPr/>
          </p:nvSpPr>
          <p:spPr bwMode="auto">
            <a:xfrm>
              <a:off x="6831542" y="2299942"/>
              <a:ext cx="1016436" cy="1425480"/>
            </a:xfrm>
            <a:custGeom>
              <a:avLst/>
              <a:gdLst>
                <a:gd name="T0" fmla="*/ 854 w 854"/>
                <a:gd name="T1" fmla="*/ 1018 h 1198"/>
                <a:gd name="T2" fmla="*/ 432 w 854"/>
                <a:gd name="T3" fmla="*/ 0 h 1198"/>
                <a:gd name="T4" fmla="*/ 0 w 854"/>
                <a:gd name="T5" fmla="*/ 433 h 1198"/>
                <a:gd name="T6" fmla="*/ 242 w 854"/>
                <a:gd name="T7" fmla="*/ 1018 h 1198"/>
                <a:gd name="T8" fmla="*/ 387 w 854"/>
                <a:gd name="T9" fmla="*/ 1018 h 1198"/>
                <a:gd name="T10" fmla="*/ 386 w 854"/>
                <a:gd name="T11" fmla="*/ 1036 h 1198"/>
                <a:gd name="T12" fmla="*/ 548 w 854"/>
                <a:gd name="T13" fmla="*/ 1198 h 1198"/>
                <a:gd name="T14" fmla="*/ 710 w 854"/>
                <a:gd name="T15" fmla="*/ 1036 h 1198"/>
                <a:gd name="T16" fmla="*/ 709 w 854"/>
                <a:gd name="T17" fmla="*/ 1018 h 1198"/>
                <a:gd name="T18" fmla="*/ 854 w 854"/>
                <a:gd name="T19" fmla="*/ 101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4" h="1198">
                  <a:moveTo>
                    <a:pt x="854" y="1018"/>
                  </a:moveTo>
                  <a:cubicBezTo>
                    <a:pt x="854" y="621"/>
                    <a:pt x="693" y="261"/>
                    <a:pt x="432" y="0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149" y="583"/>
                    <a:pt x="242" y="790"/>
                    <a:pt x="242" y="1018"/>
                  </a:cubicBezTo>
                  <a:cubicBezTo>
                    <a:pt x="387" y="1018"/>
                    <a:pt x="387" y="1018"/>
                    <a:pt x="387" y="1018"/>
                  </a:cubicBezTo>
                  <a:cubicBezTo>
                    <a:pt x="386" y="1024"/>
                    <a:pt x="386" y="1030"/>
                    <a:pt x="386" y="1036"/>
                  </a:cubicBezTo>
                  <a:cubicBezTo>
                    <a:pt x="386" y="1126"/>
                    <a:pt x="459" y="1198"/>
                    <a:pt x="548" y="1198"/>
                  </a:cubicBezTo>
                  <a:cubicBezTo>
                    <a:pt x="638" y="1198"/>
                    <a:pt x="710" y="1126"/>
                    <a:pt x="710" y="1036"/>
                  </a:cubicBezTo>
                  <a:cubicBezTo>
                    <a:pt x="710" y="1030"/>
                    <a:pt x="710" y="1024"/>
                    <a:pt x="709" y="1018"/>
                  </a:cubicBezTo>
                  <a:lnTo>
                    <a:pt x="854" y="101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ṡlïďè">
              <a:extLst>
                <a:ext uri="{FF2B5EF4-FFF2-40B4-BE49-F238E27FC236}">
                  <a16:creationId xmlns:a16="http://schemas.microsoft.com/office/drawing/2014/main" id="{83AC1D11-C9A5-4AAA-BA53-12D14592E62D}"/>
                </a:ext>
              </a:extLst>
            </p:cNvPr>
            <p:cNvSpPr/>
            <p:nvPr/>
          </p:nvSpPr>
          <p:spPr bwMode="auto">
            <a:xfrm>
              <a:off x="6134439" y="1797897"/>
              <a:ext cx="1211493" cy="1017259"/>
            </a:xfrm>
            <a:custGeom>
              <a:avLst/>
              <a:gdLst>
                <a:gd name="T0" fmla="*/ 905 w 1018"/>
                <a:gd name="T1" fmla="*/ 535 h 855"/>
                <a:gd name="T2" fmla="*/ 1018 w 1018"/>
                <a:gd name="T3" fmla="*/ 422 h 855"/>
                <a:gd name="T4" fmla="*/ 0 w 1018"/>
                <a:gd name="T5" fmla="*/ 0 h 855"/>
                <a:gd name="T6" fmla="*/ 0 w 1018"/>
                <a:gd name="T7" fmla="*/ 612 h 855"/>
                <a:gd name="T8" fmla="*/ 586 w 1018"/>
                <a:gd name="T9" fmla="*/ 855 h 855"/>
                <a:gd name="T10" fmla="*/ 679 w 1018"/>
                <a:gd name="T11" fmla="*/ 761 h 855"/>
                <a:gd name="T12" fmla="*/ 810 w 1018"/>
                <a:gd name="T13" fmla="*/ 828 h 855"/>
                <a:gd name="T14" fmla="*/ 972 w 1018"/>
                <a:gd name="T15" fmla="*/ 666 h 855"/>
                <a:gd name="T16" fmla="*/ 905 w 1018"/>
                <a:gd name="T17" fmla="*/ 53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" h="855">
                  <a:moveTo>
                    <a:pt x="905" y="535"/>
                  </a:moveTo>
                  <a:cubicBezTo>
                    <a:pt x="1018" y="422"/>
                    <a:pt x="1018" y="422"/>
                    <a:pt x="1018" y="422"/>
                  </a:cubicBezTo>
                  <a:cubicBezTo>
                    <a:pt x="758" y="162"/>
                    <a:pt x="398" y="0"/>
                    <a:pt x="0" y="0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229" y="612"/>
                    <a:pt x="436" y="705"/>
                    <a:pt x="586" y="855"/>
                  </a:cubicBezTo>
                  <a:cubicBezTo>
                    <a:pt x="679" y="761"/>
                    <a:pt x="679" y="761"/>
                    <a:pt x="679" y="761"/>
                  </a:cubicBezTo>
                  <a:cubicBezTo>
                    <a:pt x="708" y="802"/>
                    <a:pt x="756" y="828"/>
                    <a:pt x="810" y="828"/>
                  </a:cubicBezTo>
                  <a:cubicBezTo>
                    <a:pt x="900" y="828"/>
                    <a:pt x="972" y="756"/>
                    <a:pt x="972" y="666"/>
                  </a:cubicBezTo>
                  <a:cubicBezTo>
                    <a:pt x="972" y="612"/>
                    <a:pt x="946" y="565"/>
                    <a:pt x="905" y="5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ṡ1îdè">
              <a:extLst>
                <a:ext uri="{FF2B5EF4-FFF2-40B4-BE49-F238E27FC236}">
                  <a16:creationId xmlns:a16="http://schemas.microsoft.com/office/drawing/2014/main" id="{D8D0D607-1654-4F5D-B390-CA8AFA9E46A2}"/>
                </a:ext>
              </a:extLst>
            </p:cNvPr>
            <p:cNvSpPr/>
            <p:nvPr/>
          </p:nvSpPr>
          <p:spPr bwMode="auto">
            <a:xfrm>
              <a:off x="5963250" y="1966631"/>
              <a:ext cx="385176" cy="3851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ṧliďè">
              <a:extLst>
                <a:ext uri="{FF2B5EF4-FFF2-40B4-BE49-F238E27FC236}">
                  <a16:creationId xmlns:a16="http://schemas.microsoft.com/office/drawing/2014/main" id="{60121CCA-BBD2-419A-9230-B39E9E12FF87}"/>
                </a:ext>
              </a:extLst>
            </p:cNvPr>
            <p:cNvSpPr/>
            <p:nvPr/>
          </p:nvSpPr>
          <p:spPr>
            <a:xfrm>
              <a:off x="5148525" y="2528698"/>
              <a:ext cx="1983421" cy="1983421"/>
            </a:xfrm>
            <a:prstGeom prst="ellipse">
              <a:avLst/>
            </a:prstGeom>
            <a:pattFill prst="pct5">
              <a:fgClr>
                <a:srgbClr val="E4E6EA"/>
              </a:fgClr>
              <a:bgClr>
                <a:srgbClr val="ADB5BF"/>
              </a:bgClr>
            </a:patt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ṥḻîḋê">
              <a:extLst>
                <a:ext uri="{FF2B5EF4-FFF2-40B4-BE49-F238E27FC236}">
                  <a16:creationId xmlns:a16="http://schemas.microsoft.com/office/drawing/2014/main" id="{3B4A5A5A-2284-4604-95AD-04630EB72C28}"/>
                </a:ext>
              </a:extLst>
            </p:cNvPr>
            <p:cNvSpPr/>
            <p:nvPr/>
          </p:nvSpPr>
          <p:spPr bwMode="auto">
            <a:xfrm>
              <a:off x="4779206" y="279040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" name="i$1íḍê">
              <a:extLst>
                <a:ext uri="{FF2B5EF4-FFF2-40B4-BE49-F238E27FC236}">
                  <a16:creationId xmlns:a16="http://schemas.microsoft.com/office/drawing/2014/main" id="{CA191674-E1C3-43FB-AAF3-786D0A45E850}"/>
                </a:ext>
              </a:extLst>
            </p:cNvPr>
            <p:cNvSpPr/>
            <p:nvPr/>
          </p:nvSpPr>
          <p:spPr bwMode="auto">
            <a:xfrm>
              <a:off x="4784555" y="391095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isḻïḍê">
              <a:extLst>
                <a:ext uri="{FF2B5EF4-FFF2-40B4-BE49-F238E27FC236}">
                  <a16:creationId xmlns:a16="http://schemas.microsoft.com/office/drawing/2014/main" id="{A75E8BE0-B794-4212-9FC2-8BFA8C421DCF}"/>
                </a:ext>
              </a:extLst>
            </p:cNvPr>
            <p:cNvSpPr/>
            <p:nvPr/>
          </p:nvSpPr>
          <p:spPr bwMode="auto">
            <a:xfrm>
              <a:off x="5383717" y="4596127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" name="ïśḻîďè">
              <a:extLst>
                <a:ext uri="{FF2B5EF4-FFF2-40B4-BE49-F238E27FC236}">
                  <a16:creationId xmlns:a16="http://schemas.microsoft.com/office/drawing/2014/main" id="{698215B5-40C6-4837-88D4-BEDFCB02774E}"/>
                </a:ext>
              </a:extLst>
            </p:cNvPr>
            <p:cNvSpPr/>
            <p:nvPr/>
          </p:nvSpPr>
          <p:spPr bwMode="auto">
            <a:xfrm>
              <a:off x="1272645" y="1938971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连续存储的元素</a:t>
              </a:r>
              <a:endParaRPr lang="en-US" altLang="zh-CN" dirty="0"/>
            </a:p>
          </p:txBody>
        </p:sp>
        <p:sp>
          <p:nvSpPr>
            <p:cNvPr id="20" name="ïšlíḑe">
              <a:extLst>
                <a:ext uri="{FF2B5EF4-FFF2-40B4-BE49-F238E27FC236}">
                  <a16:creationId xmlns:a16="http://schemas.microsoft.com/office/drawing/2014/main" id="{205CB36D-3CCB-4DF5-B991-5DF98DBD7FA5}"/>
                </a:ext>
              </a:extLst>
            </p:cNvPr>
            <p:cNvSpPr txBox="1"/>
            <p:nvPr/>
          </p:nvSpPr>
          <p:spPr bwMode="auto">
            <a:xfrm>
              <a:off x="1272645" y="1492031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vector</a:t>
              </a:r>
            </a:p>
          </p:txBody>
        </p:sp>
        <p:sp>
          <p:nvSpPr>
            <p:cNvPr id="21" name="íṥ1ïḋê">
              <a:extLst>
                <a:ext uri="{FF2B5EF4-FFF2-40B4-BE49-F238E27FC236}">
                  <a16:creationId xmlns:a16="http://schemas.microsoft.com/office/drawing/2014/main" id="{392CDA33-79C9-45AD-97EF-1617A612FAC5}"/>
                </a:ext>
              </a:extLst>
            </p:cNvPr>
            <p:cNvSpPr/>
            <p:nvPr/>
          </p:nvSpPr>
          <p:spPr bwMode="auto">
            <a:xfrm>
              <a:off x="1185178" y="4955928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后进先出地值的排列</a:t>
              </a:r>
              <a:endParaRPr lang="en-US" altLang="zh-CN" dirty="0"/>
            </a:p>
          </p:txBody>
        </p:sp>
        <p:sp>
          <p:nvSpPr>
            <p:cNvPr id="22" name="íŝ1íḑê">
              <a:extLst>
                <a:ext uri="{FF2B5EF4-FFF2-40B4-BE49-F238E27FC236}">
                  <a16:creationId xmlns:a16="http://schemas.microsoft.com/office/drawing/2014/main" id="{5A9A09A0-DE4F-4825-AA56-DDDF51D08BAE}"/>
                </a:ext>
              </a:extLst>
            </p:cNvPr>
            <p:cNvSpPr/>
            <p:nvPr/>
          </p:nvSpPr>
          <p:spPr bwMode="auto">
            <a:xfrm>
              <a:off x="6482868" y="4601475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3" name="iS1iḍê">
              <a:extLst>
                <a:ext uri="{FF2B5EF4-FFF2-40B4-BE49-F238E27FC236}">
                  <a16:creationId xmlns:a16="http://schemas.microsoft.com/office/drawing/2014/main" id="{D99647AF-2F9D-4684-8422-B0C3174E4907}"/>
                </a:ext>
              </a:extLst>
            </p:cNvPr>
            <p:cNvSpPr/>
            <p:nvPr/>
          </p:nvSpPr>
          <p:spPr bwMode="auto">
            <a:xfrm>
              <a:off x="7189023" y="4002313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" name="îṥľídé">
              <a:extLst>
                <a:ext uri="{FF2B5EF4-FFF2-40B4-BE49-F238E27FC236}">
                  <a16:creationId xmlns:a16="http://schemas.microsoft.com/office/drawing/2014/main" id="{52C55C19-5145-445C-9A9D-79204E0B6CC0}"/>
                </a:ext>
              </a:extLst>
            </p:cNvPr>
            <p:cNvSpPr/>
            <p:nvPr/>
          </p:nvSpPr>
          <p:spPr bwMode="auto">
            <a:xfrm>
              <a:off x="7194785" y="2892053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5" name="îšļíḓè">
              <a:extLst>
                <a:ext uri="{FF2B5EF4-FFF2-40B4-BE49-F238E27FC236}">
                  <a16:creationId xmlns:a16="http://schemas.microsoft.com/office/drawing/2014/main" id="{807BB4A4-EDD7-406D-B0F4-BC20D0B9725D}"/>
                </a:ext>
              </a:extLst>
            </p:cNvPr>
            <p:cNvSpPr/>
            <p:nvPr/>
          </p:nvSpPr>
          <p:spPr bwMode="auto">
            <a:xfrm>
              <a:off x="6595210" y="2185896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" name="ïšļidê">
              <a:extLst>
                <a:ext uri="{FF2B5EF4-FFF2-40B4-BE49-F238E27FC236}">
                  <a16:creationId xmlns:a16="http://schemas.microsoft.com/office/drawing/2014/main" id="{898C4F02-2FB9-4CCD-8F49-C562016B4238}"/>
                </a:ext>
              </a:extLst>
            </p:cNvPr>
            <p:cNvSpPr/>
            <p:nvPr/>
          </p:nvSpPr>
          <p:spPr bwMode="auto">
            <a:xfrm>
              <a:off x="5532154" y="2164438"/>
              <a:ext cx="289950" cy="241260"/>
            </a:xfrm>
            <a:custGeom>
              <a:avLst/>
              <a:gdLst>
                <a:gd name="connsiteX0" fmla="*/ 50644 w 607639"/>
                <a:gd name="connsiteY0" fmla="*/ 404463 h 505601"/>
                <a:gd name="connsiteX1" fmla="*/ 50644 w 607639"/>
                <a:gd name="connsiteY1" fmla="*/ 455032 h 505601"/>
                <a:gd name="connsiteX2" fmla="*/ 556995 w 607639"/>
                <a:gd name="connsiteY2" fmla="*/ 455032 h 505601"/>
                <a:gd name="connsiteX3" fmla="*/ 556995 w 607639"/>
                <a:gd name="connsiteY3" fmla="*/ 404463 h 505601"/>
                <a:gd name="connsiteX4" fmla="*/ 390199 w 607639"/>
                <a:gd name="connsiteY4" fmla="*/ 404463 h 505601"/>
                <a:gd name="connsiteX5" fmla="*/ 372309 w 607639"/>
                <a:gd name="connsiteY5" fmla="*/ 422327 h 505601"/>
                <a:gd name="connsiteX6" fmla="*/ 354419 w 607639"/>
                <a:gd name="connsiteY6" fmla="*/ 429703 h 505601"/>
                <a:gd name="connsiteX7" fmla="*/ 253131 w 607639"/>
                <a:gd name="connsiteY7" fmla="*/ 429703 h 505601"/>
                <a:gd name="connsiteX8" fmla="*/ 235241 w 607639"/>
                <a:gd name="connsiteY8" fmla="*/ 422327 h 505601"/>
                <a:gd name="connsiteX9" fmla="*/ 217351 w 607639"/>
                <a:gd name="connsiteY9" fmla="*/ 404463 h 505601"/>
                <a:gd name="connsiteX10" fmla="*/ 126544 w 607639"/>
                <a:gd name="connsiteY10" fmla="*/ 252695 h 505601"/>
                <a:gd name="connsiteX11" fmla="*/ 202572 w 607639"/>
                <a:gd name="connsiteY11" fmla="*/ 252695 h 505601"/>
                <a:gd name="connsiteX12" fmla="*/ 227855 w 607639"/>
                <a:gd name="connsiteY12" fmla="*/ 278037 h 505601"/>
                <a:gd name="connsiteX13" fmla="*/ 202572 w 607639"/>
                <a:gd name="connsiteY13" fmla="*/ 303290 h 505601"/>
                <a:gd name="connsiteX14" fmla="*/ 126544 w 607639"/>
                <a:gd name="connsiteY14" fmla="*/ 303290 h 505601"/>
                <a:gd name="connsiteX15" fmla="*/ 101261 w 607639"/>
                <a:gd name="connsiteY15" fmla="*/ 278037 h 505601"/>
                <a:gd name="connsiteX16" fmla="*/ 126544 w 607639"/>
                <a:gd name="connsiteY16" fmla="*/ 252695 h 505601"/>
                <a:gd name="connsiteX17" fmla="*/ 126550 w 607639"/>
                <a:gd name="connsiteY17" fmla="*/ 176907 h 505601"/>
                <a:gd name="connsiteX18" fmla="*/ 177216 w 607639"/>
                <a:gd name="connsiteY18" fmla="*/ 176907 h 505601"/>
                <a:gd name="connsiteX19" fmla="*/ 202593 w 607639"/>
                <a:gd name="connsiteY19" fmla="*/ 202160 h 505601"/>
                <a:gd name="connsiteX20" fmla="*/ 177216 w 607639"/>
                <a:gd name="connsiteY20" fmla="*/ 227502 h 505601"/>
                <a:gd name="connsiteX21" fmla="*/ 126550 w 607639"/>
                <a:gd name="connsiteY21" fmla="*/ 227502 h 505601"/>
                <a:gd name="connsiteX22" fmla="*/ 101261 w 607639"/>
                <a:gd name="connsiteY22" fmla="*/ 202160 h 505601"/>
                <a:gd name="connsiteX23" fmla="*/ 126550 w 607639"/>
                <a:gd name="connsiteY23" fmla="*/ 176907 h 505601"/>
                <a:gd name="connsiteX24" fmla="*/ 405073 w 607639"/>
                <a:gd name="connsiteY24" fmla="*/ 130709 h 505601"/>
                <a:gd name="connsiteX25" fmla="*/ 405073 w 607639"/>
                <a:gd name="connsiteY25" fmla="*/ 202161 h 505601"/>
                <a:gd name="connsiteX26" fmla="*/ 379792 w 607639"/>
                <a:gd name="connsiteY26" fmla="*/ 227489 h 505601"/>
                <a:gd name="connsiteX27" fmla="*/ 308132 w 607639"/>
                <a:gd name="connsiteY27" fmla="*/ 227489 h 505601"/>
                <a:gd name="connsiteX28" fmla="*/ 379792 w 607639"/>
                <a:gd name="connsiteY28" fmla="*/ 278056 h 505601"/>
                <a:gd name="connsiteX29" fmla="*/ 455725 w 607639"/>
                <a:gd name="connsiteY29" fmla="*/ 202161 h 505601"/>
                <a:gd name="connsiteX30" fmla="*/ 405073 w 607639"/>
                <a:gd name="connsiteY30" fmla="*/ 130709 h 505601"/>
                <a:gd name="connsiteX31" fmla="*/ 354422 w 607639"/>
                <a:gd name="connsiteY31" fmla="*/ 130709 h 505601"/>
                <a:gd name="connsiteX32" fmla="*/ 354066 w 607639"/>
                <a:gd name="connsiteY32" fmla="*/ 130798 h 505601"/>
                <a:gd name="connsiteX33" fmla="*/ 351217 w 607639"/>
                <a:gd name="connsiteY33" fmla="*/ 131953 h 505601"/>
                <a:gd name="connsiteX34" fmla="*/ 350327 w 607639"/>
                <a:gd name="connsiteY34" fmla="*/ 132309 h 505601"/>
                <a:gd name="connsiteX35" fmla="*/ 346677 w 607639"/>
                <a:gd name="connsiteY35" fmla="*/ 133908 h 505601"/>
                <a:gd name="connsiteX36" fmla="*/ 345787 w 607639"/>
                <a:gd name="connsiteY36" fmla="*/ 134353 h 505601"/>
                <a:gd name="connsiteX37" fmla="*/ 343116 w 607639"/>
                <a:gd name="connsiteY37" fmla="*/ 135774 h 505601"/>
                <a:gd name="connsiteX38" fmla="*/ 341870 w 607639"/>
                <a:gd name="connsiteY38" fmla="*/ 136485 h 505601"/>
                <a:gd name="connsiteX39" fmla="*/ 339734 w 607639"/>
                <a:gd name="connsiteY39" fmla="*/ 137730 h 505601"/>
                <a:gd name="connsiteX40" fmla="*/ 338398 w 607639"/>
                <a:gd name="connsiteY40" fmla="*/ 138618 h 505601"/>
                <a:gd name="connsiteX41" fmla="*/ 336351 w 607639"/>
                <a:gd name="connsiteY41" fmla="*/ 139951 h 505601"/>
                <a:gd name="connsiteX42" fmla="*/ 335105 w 607639"/>
                <a:gd name="connsiteY42" fmla="*/ 140840 h 505601"/>
                <a:gd name="connsiteX43" fmla="*/ 333146 w 607639"/>
                <a:gd name="connsiteY43" fmla="*/ 142351 h 505601"/>
                <a:gd name="connsiteX44" fmla="*/ 331900 w 607639"/>
                <a:gd name="connsiteY44" fmla="*/ 143328 h 505601"/>
                <a:gd name="connsiteX45" fmla="*/ 329852 w 607639"/>
                <a:gd name="connsiteY45" fmla="*/ 145017 h 505601"/>
                <a:gd name="connsiteX46" fmla="*/ 328873 w 607639"/>
                <a:gd name="connsiteY46" fmla="*/ 145906 h 505601"/>
                <a:gd name="connsiteX47" fmla="*/ 323354 w 607639"/>
                <a:gd name="connsiteY47" fmla="*/ 151416 h 505601"/>
                <a:gd name="connsiteX48" fmla="*/ 322464 w 607639"/>
                <a:gd name="connsiteY48" fmla="*/ 152393 h 505601"/>
                <a:gd name="connsiteX49" fmla="*/ 320772 w 607639"/>
                <a:gd name="connsiteY49" fmla="*/ 154437 h 505601"/>
                <a:gd name="connsiteX50" fmla="*/ 319793 w 607639"/>
                <a:gd name="connsiteY50" fmla="*/ 155593 h 505601"/>
                <a:gd name="connsiteX51" fmla="*/ 318369 w 607639"/>
                <a:gd name="connsiteY51" fmla="*/ 157548 h 505601"/>
                <a:gd name="connsiteX52" fmla="*/ 317390 w 607639"/>
                <a:gd name="connsiteY52" fmla="*/ 158881 h 505601"/>
                <a:gd name="connsiteX53" fmla="*/ 316054 w 607639"/>
                <a:gd name="connsiteY53" fmla="*/ 160925 h 505601"/>
                <a:gd name="connsiteX54" fmla="*/ 315253 w 607639"/>
                <a:gd name="connsiteY54" fmla="*/ 162169 h 505601"/>
                <a:gd name="connsiteX55" fmla="*/ 313918 w 607639"/>
                <a:gd name="connsiteY55" fmla="*/ 164391 h 505601"/>
                <a:gd name="connsiteX56" fmla="*/ 313206 w 607639"/>
                <a:gd name="connsiteY56" fmla="*/ 165635 h 505601"/>
                <a:gd name="connsiteX57" fmla="*/ 311782 w 607639"/>
                <a:gd name="connsiteY57" fmla="*/ 168301 h 505601"/>
                <a:gd name="connsiteX58" fmla="*/ 311336 w 607639"/>
                <a:gd name="connsiteY58" fmla="*/ 169190 h 505601"/>
                <a:gd name="connsiteX59" fmla="*/ 309734 w 607639"/>
                <a:gd name="connsiteY59" fmla="*/ 172833 h 505601"/>
                <a:gd name="connsiteX60" fmla="*/ 309378 w 607639"/>
                <a:gd name="connsiteY60" fmla="*/ 173722 h 505601"/>
                <a:gd name="connsiteX61" fmla="*/ 308221 w 607639"/>
                <a:gd name="connsiteY61" fmla="*/ 176566 h 505601"/>
                <a:gd name="connsiteX62" fmla="*/ 308132 w 607639"/>
                <a:gd name="connsiteY62" fmla="*/ 176921 h 505601"/>
                <a:gd name="connsiteX63" fmla="*/ 354422 w 607639"/>
                <a:gd name="connsiteY63" fmla="*/ 176921 h 505601"/>
                <a:gd name="connsiteX64" fmla="*/ 126541 w 607639"/>
                <a:gd name="connsiteY64" fmla="*/ 101120 h 505601"/>
                <a:gd name="connsiteX65" fmla="*/ 227838 w 607639"/>
                <a:gd name="connsiteY65" fmla="*/ 101120 h 505601"/>
                <a:gd name="connsiteX66" fmla="*/ 253118 w 607639"/>
                <a:gd name="connsiteY66" fmla="*/ 126347 h 505601"/>
                <a:gd name="connsiteX67" fmla="*/ 227838 w 607639"/>
                <a:gd name="connsiteY67" fmla="*/ 151574 h 505601"/>
                <a:gd name="connsiteX68" fmla="*/ 126541 w 607639"/>
                <a:gd name="connsiteY68" fmla="*/ 151574 h 505601"/>
                <a:gd name="connsiteX69" fmla="*/ 101261 w 607639"/>
                <a:gd name="connsiteY69" fmla="*/ 126347 h 505601"/>
                <a:gd name="connsiteX70" fmla="*/ 126541 w 607639"/>
                <a:gd name="connsiteY70" fmla="*/ 101120 h 505601"/>
                <a:gd name="connsiteX71" fmla="*/ 379792 w 607639"/>
                <a:gd name="connsiteY71" fmla="*/ 75787 h 505601"/>
                <a:gd name="connsiteX72" fmla="*/ 506377 w 607639"/>
                <a:gd name="connsiteY72" fmla="*/ 202161 h 505601"/>
                <a:gd name="connsiteX73" fmla="*/ 379792 w 607639"/>
                <a:gd name="connsiteY73" fmla="*/ 328623 h 505601"/>
                <a:gd name="connsiteX74" fmla="*/ 253118 w 607639"/>
                <a:gd name="connsiteY74" fmla="*/ 202161 h 505601"/>
                <a:gd name="connsiteX75" fmla="*/ 379792 w 607639"/>
                <a:gd name="connsiteY75" fmla="*/ 75787 h 505601"/>
                <a:gd name="connsiteX76" fmla="*/ 75921 w 607639"/>
                <a:gd name="connsiteY76" fmla="*/ 50569 h 505601"/>
                <a:gd name="connsiteX77" fmla="*/ 75921 w 607639"/>
                <a:gd name="connsiteY77" fmla="*/ 353894 h 505601"/>
                <a:gd name="connsiteX78" fmla="*/ 227854 w 607639"/>
                <a:gd name="connsiteY78" fmla="*/ 353894 h 505601"/>
                <a:gd name="connsiteX79" fmla="*/ 245744 w 607639"/>
                <a:gd name="connsiteY79" fmla="*/ 361271 h 505601"/>
                <a:gd name="connsiteX80" fmla="*/ 263634 w 607639"/>
                <a:gd name="connsiteY80" fmla="*/ 379223 h 505601"/>
                <a:gd name="connsiteX81" fmla="*/ 343916 w 607639"/>
                <a:gd name="connsiteY81" fmla="*/ 379223 h 505601"/>
                <a:gd name="connsiteX82" fmla="*/ 361896 w 607639"/>
                <a:gd name="connsiteY82" fmla="*/ 361271 h 505601"/>
                <a:gd name="connsiteX83" fmla="*/ 379786 w 607639"/>
                <a:gd name="connsiteY83" fmla="*/ 353894 h 505601"/>
                <a:gd name="connsiteX84" fmla="*/ 531629 w 607639"/>
                <a:gd name="connsiteY84" fmla="*/ 353894 h 505601"/>
                <a:gd name="connsiteX85" fmla="*/ 531629 w 607639"/>
                <a:gd name="connsiteY85" fmla="*/ 50569 h 505601"/>
                <a:gd name="connsiteX86" fmla="*/ 75921 w 607639"/>
                <a:gd name="connsiteY86" fmla="*/ 0 h 505601"/>
                <a:gd name="connsiteX87" fmla="*/ 531629 w 607639"/>
                <a:gd name="connsiteY87" fmla="*/ 0 h 505601"/>
                <a:gd name="connsiteX88" fmla="*/ 582273 w 607639"/>
                <a:gd name="connsiteY88" fmla="*/ 50569 h 505601"/>
                <a:gd name="connsiteX89" fmla="*/ 582273 w 607639"/>
                <a:gd name="connsiteY89" fmla="*/ 353894 h 505601"/>
                <a:gd name="connsiteX90" fmla="*/ 607639 w 607639"/>
                <a:gd name="connsiteY90" fmla="*/ 379223 h 505601"/>
                <a:gd name="connsiteX91" fmla="*/ 607639 w 607639"/>
                <a:gd name="connsiteY91" fmla="*/ 455032 h 505601"/>
                <a:gd name="connsiteX92" fmla="*/ 556995 w 607639"/>
                <a:gd name="connsiteY92" fmla="*/ 505601 h 505601"/>
                <a:gd name="connsiteX93" fmla="*/ 50644 w 607639"/>
                <a:gd name="connsiteY93" fmla="*/ 505601 h 505601"/>
                <a:gd name="connsiteX94" fmla="*/ 0 w 607639"/>
                <a:gd name="connsiteY94" fmla="*/ 455032 h 505601"/>
                <a:gd name="connsiteX95" fmla="*/ 0 w 607639"/>
                <a:gd name="connsiteY95" fmla="*/ 379223 h 505601"/>
                <a:gd name="connsiteX96" fmla="*/ 25277 w 607639"/>
                <a:gd name="connsiteY96" fmla="*/ 353894 h 505601"/>
                <a:gd name="connsiteX97" fmla="*/ 25277 w 607639"/>
                <a:gd name="connsiteY97" fmla="*/ 50569 h 505601"/>
                <a:gd name="connsiteX98" fmla="*/ 75921 w 607639"/>
                <a:gd name="connsiteY98" fmla="*/ 0 h 505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07639" h="505601">
                  <a:moveTo>
                    <a:pt x="50644" y="404463"/>
                  </a:moveTo>
                  <a:lnTo>
                    <a:pt x="50644" y="455032"/>
                  </a:lnTo>
                  <a:lnTo>
                    <a:pt x="556995" y="455032"/>
                  </a:lnTo>
                  <a:lnTo>
                    <a:pt x="556995" y="404463"/>
                  </a:lnTo>
                  <a:lnTo>
                    <a:pt x="390199" y="404463"/>
                  </a:lnTo>
                  <a:lnTo>
                    <a:pt x="372309" y="422327"/>
                  </a:lnTo>
                  <a:cubicBezTo>
                    <a:pt x="367592" y="427037"/>
                    <a:pt x="361183" y="429703"/>
                    <a:pt x="354419" y="429703"/>
                  </a:cubicBezTo>
                  <a:lnTo>
                    <a:pt x="253131" y="429703"/>
                  </a:lnTo>
                  <a:cubicBezTo>
                    <a:pt x="246456" y="429703"/>
                    <a:pt x="240047" y="427037"/>
                    <a:pt x="235241" y="422327"/>
                  </a:cubicBezTo>
                  <a:lnTo>
                    <a:pt x="217351" y="404463"/>
                  </a:lnTo>
                  <a:close/>
                  <a:moveTo>
                    <a:pt x="126544" y="252695"/>
                  </a:moveTo>
                  <a:lnTo>
                    <a:pt x="202572" y="252695"/>
                  </a:lnTo>
                  <a:cubicBezTo>
                    <a:pt x="216549" y="252695"/>
                    <a:pt x="227855" y="264077"/>
                    <a:pt x="227855" y="278037"/>
                  </a:cubicBezTo>
                  <a:cubicBezTo>
                    <a:pt x="227855" y="291997"/>
                    <a:pt x="216549" y="303290"/>
                    <a:pt x="202572" y="303290"/>
                  </a:cubicBezTo>
                  <a:lnTo>
                    <a:pt x="126544" y="303290"/>
                  </a:lnTo>
                  <a:cubicBezTo>
                    <a:pt x="112567" y="303290"/>
                    <a:pt x="101261" y="291997"/>
                    <a:pt x="101261" y="278037"/>
                  </a:cubicBezTo>
                  <a:cubicBezTo>
                    <a:pt x="101261" y="264077"/>
                    <a:pt x="112567" y="252695"/>
                    <a:pt x="126544" y="252695"/>
                  </a:cubicBezTo>
                  <a:close/>
                  <a:moveTo>
                    <a:pt x="126550" y="176907"/>
                  </a:moveTo>
                  <a:lnTo>
                    <a:pt x="177216" y="176907"/>
                  </a:lnTo>
                  <a:cubicBezTo>
                    <a:pt x="191195" y="176907"/>
                    <a:pt x="202593" y="188200"/>
                    <a:pt x="202593" y="202160"/>
                  </a:cubicBezTo>
                  <a:cubicBezTo>
                    <a:pt x="202593" y="216209"/>
                    <a:pt x="191195" y="227502"/>
                    <a:pt x="177216" y="227502"/>
                  </a:cubicBezTo>
                  <a:lnTo>
                    <a:pt x="126550" y="227502"/>
                  </a:lnTo>
                  <a:cubicBezTo>
                    <a:pt x="112570" y="227502"/>
                    <a:pt x="101261" y="216209"/>
                    <a:pt x="101261" y="202160"/>
                  </a:cubicBezTo>
                  <a:cubicBezTo>
                    <a:pt x="101261" y="188200"/>
                    <a:pt x="112570" y="176907"/>
                    <a:pt x="126550" y="176907"/>
                  </a:cubicBezTo>
                  <a:close/>
                  <a:moveTo>
                    <a:pt x="405073" y="130709"/>
                  </a:moveTo>
                  <a:lnTo>
                    <a:pt x="405073" y="202161"/>
                  </a:lnTo>
                  <a:cubicBezTo>
                    <a:pt x="405073" y="216113"/>
                    <a:pt x="393768" y="227489"/>
                    <a:pt x="379792" y="227489"/>
                  </a:cubicBezTo>
                  <a:lnTo>
                    <a:pt x="308132" y="227489"/>
                  </a:lnTo>
                  <a:cubicBezTo>
                    <a:pt x="318547" y="256905"/>
                    <a:pt x="346677" y="278056"/>
                    <a:pt x="379792" y="278056"/>
                  </a:cubicBezTo>
                  <a:cubicBezTo>
                    <a:pt x="421720" y="278056"/>
                    <a:pt x="455725" y="244107"/>
                    <a:pt x="455725" y="202161"/>
                  </a:cubicBezTo>
                  <a:cubicBezTo>
                    <a:pt x="455725" y="169190"/>
                    <a:pt x="434539" y="141107"/>
                    <a:pt x="405073" y="130709"/>
                  </a:cubicBezTo>
                  <a:close/>
                  <a:moveTo>
                    <a:pt x="354422" y="130709"/>
                  </a:moveTo>
                  <a:cubicBezTo>
                    <a:pt x="354333" y="130709"/>
                    <a:pt x="354244" y="130798"/>
                    <a:pt x="354066" y="130798"/>
                  </a:cubicBezTo>
                  <a:cubicBezTo>
                    <a:pt x="353086" y="131153"/>
                    <a:pt x="352196" y="131509"/>
                    <a:pt x="351217" y="131953"/>
                  </a:cubicBezTo>
                  <a:cubicBezTo>
                    <a:pt x="350950" y="132042"/>
                    <a:pt x="350594" y="132131"/>
                    <a:pt x="350327" y="132309"/>
                  </a:cubicBezTo>
                  <a:cubicBezTo>
                    <a:pt x="349081" y="132753"/>
                    <a:pt x="347923" y="133375"/>
                    <a:pt x="346677" y="133908"/>
                  </a:cubicBezTo>
                  <a:cubicBezTo>
                    <a:pt x="346410" y="134086"/>
                    <a:pt x="346143" y="134175"/>
                    <a:pt x="345787" y="134353"/>
                  </a:cubicBezTo>
                  <a:cubicBezTo>
                    <a:pt x="344897" y="134797"/>
                    <a:pt x="344006" y="135241"/>
                    <a:pt x="343116" y="135774"/>
                  </a:cubicBezTo>
                  <a:cubicBezTo>
                    <a:pt x="342760" y="135952"/>
                    <a:pt x="342315" y="136219"/>
                    <a:pt x="341870" y="136485"/>
                  </a:cubicBezTo>
                  <a:cubicBezTo>
                    <a:pt x="341158" y="136930"/>
                    <a:pt x="340446" y="137285"/>
                    <a:pt x="339734" y="137730"/>
                  </a:cubicBezTo>
                  <a:cubicBezTo>
                    <a:pt x="339288" y="137996"/>
                    <a:pt x="338843" y="138352"/>
                    <a:pt x="338398" y="138618"/>
                  </a:cubicBezTo>
                  <a:cubicBezTo>
                    <a:pt x="337686" y="139063"/>
                    <a:pt x="337063" y="139507"/>
                    <a:pt x="336351" y="139951"/>
                  </a:cubicBezTo>
                  <a:cubicBezTo>
                    <a:pt x="335906" y="140307"/>
                    <a:pt x="335550" y="140573"/>
                    <a:pt x="335105" y="140840"/>
                  </a:cubicBezTo>
                  <a:cubicBezTo>
                    <a:pt x="334392" y="141373"/>
                    <a:pt x="333769" y="141818"/>
                    <a:pt x="333146" y="142351"/>
                  </a:cubicBezTo>
                  <a:cubicBezTo>
                    <a:pt x="332701" y="142706"/>
                    <a:pt x="332345" y="142973"/>
                    <a:pt x="331900" y="143328"/>
                  </a:cubicBezTo>
                  <a:cubicBezTo>
                    <a:pt x="331277" y="143862"/>
                    <a:pt x="330565" y="144484"/>
                    <a:pt x="329852" y="145017"/>
                  </a:cubicBezTo>
                  <a:cubicBezTo>
                    <a:pt x="329585" y="145284"/>
                    <a:pt x="329229" y="145550"/>
                    <a:pt x="328873" y="145906"/>
                  </a:cubicBezTo>
                  <a:cubicBezTo>
                    <a:pt x="327004" y="147594"/>
                    <a:pt x="325134" y="149460"/>
                    <a:pt x="323354" y="151416"/>
                  </a:cubicBezTo>
                  <a:cubicBezTo>
                    <a:pt x="323087" y="151771"/>
                    <a:pt x="322820" y="152038"/>
                    <a:pt x="322464" y="152393"/>
                  </a:cubicBezTo>
                  <a:cubicBezTo>
                    <a:pt x="321930" y="153104"/>
                    <a:pt x="321307" y="153726"/>
                    <a:pt x="320772" y="154437"/>
                  </a:cubicBezTo>
                  <a:cubicBezTo>
                    <a:pt x="320416" y="154793"/>
                    <a:pt x="320149" y="155237"/>
                    <a:pt x="319793" y="155593"/>
                  </a:cubicBezTo>
                  <a:cubicBezTo>
                    <a:pt x="319348" y="156303"/>
                    <a:pt x="318814" y="156926"/>
                    <a:pt x="318369" y="157548"/>
                  </a:cubicBezTo>
                  <a:cubicBezTo>
                    <a:pt x="318013" y="157992"/>
                    <a:pt x="317746" y="158436"/>
                    <a:pt x="317390" y="158881"/>
                  </a:cubicBezTo>
                  <a:cubicBezTo>
                    <a:pt x="316945" y="159503"/>
                    <a:pt x="316500" y="160214"/>
                    <a:pt x="316054" y="160925"/>
                  </a:cubicBezTo>
                  <a:cubicBezTo>
                    <a:pt x="315787" y="161369"/>
                    <a:pt x="315520" y="161725"/>
                    <a:pt x="315253" y="162169"/>
                  </a:cubicBezTo>
                  <a:cubicBezTo>
                    <a:pt x="314808" y="162969"/>
                    <a:pt x="314363" y="163680"/>
                    <a:pt x="313918" y="164391"/>
                  </a:cubicBezTo>
                  <a:cubicBezTo>
                    <a:pt x="313651" y="164835"/>
                    <a:pt x="313473" y="165191"/>
                    <a:pt x="313206" y="165635"/>
                  </a:cubicBezTo>
                  <a:cubicBezTo>
                    <a:pt x="312761" y="166524"/>
                    <a:pt x="312227" y="167412"/>
                    <a:pt x="311782" y="168301"/>
                  </a:cubicBezTo>
                  <a:cubicBezTo>
                    <a:pt x="311693" y="168568"/>
                    <a:pt x="311515" y="168923"/>
                    <a:pt x="311336" y="169190"/>
                  </a:cubicBezTo>
                  <a:cubicBezTo>
                    <a:pt x="310802" y="170345"/>
                    <a:pt x="310268" y="171589"/>
                    <a:pt x="309734" y="172833"/>
                  </a:cubicBezTo>
                  <a:cubicBezTo>
                    <a:pt x="309556" y="173100"/>
                    <a:pt x="309467" y="173455"/>
                    <a:pt x="309378" y="173722"/>
                  </a:cubicBezTo>
                  <a:cubicBezTo>
                    <a:pt x="309022" y="174611"/>
                    <a:pt x="308577" y="175588"/>
                    <a:pt x="308221" y="176566"/>
                  </a:cubicBezTo>
                  <a:cubicBezTo>
                    <a:pt x="308221" y="176655"/>
                    <a:pt x="308221" y="176833"/>
                    <a:pt x="308132" y="176921"/>
                  </a:cubicBezTo>
                  <a:lnTo>
                    <a:pt x="354422" y="176921"/>
                  </a:lnTo>
                  <a:close/>
                  <a:moveTo>
                    <a:pt x="126541" y="101120"/>
                  </a:moveTo>
                  <a:lnTo>
                    <a:pt x="227838" y="101120"/>
                  </a:lnTo>
                  <a:cubicBezTo>
                    <a:pt x="241813" y="101120"/>
                    <a:pt x="253118" y="112401"/>
                    <a:pt x="253118" y="126347"/>
                  </a:cubicBezTo>
                  <a:cubicBezTo>
                    <a:pt x="253118" y="140293"/>
                    <a:pt x="241813" y="151574"/>
                    <a:pt x="227838" y="151574"/>
                  </a:cubicBezTo>
                  <a:lnTo>
                    <a:pt x="126541" y="151574"/>
                  </a:lnTo>
                  <a:cubicBezTo>
                    <a:pt x="112566" y="151574"/>
                    <a:pt x="101261" y="140293"/>
                    <a:pt x="101261" y="126347"/>
                  </a:cubicBezTo>
                  <a:cubicBezTo>
                    <a:pt x="101261" y="112401"/>
                    <a:pt x="112566" y="101120"/>
                    <a:pt x="126541" y="101120"/>
                  </a:cubicBezTo>
                  <a:close/>
                  <a:moveTo>
                    <a:pt x="379792" y="75787"/>
                  </a:moveTo>
                  <a:cubicBezTo>
                    <a:pt x="449672" y="75787"/>
                    <a:pt x="506377" y="132397"/>
                    <a:pt x="506377" y="202161"/>
                  </a:cubicBezTo>
                  <a:cubicBezTo>
                    <a:pt x="506377" y="272013"/>
                    <a:pt x="449672" y="328623"/>
                    <a:pt x="379792" y="328623"/>
                  </a:cubicBezTo>
                  <a:cubicBezTo>
                    <a:pt x="309823" y="328623"/>
                    <a:pt x="253118" y="272013"/>
                    <a:pt x="253118" y="202161"/>
                  </a:cubicBezTo>
                  <a:cubicBezTo>
                    <a:pt x="253118" y="132397"/>
                    <a:pt x="309823" y="75787"/>
                    <a:pt x="379792" y="75787"/>
                  </a:cubicBezTo>
                  <a:close/>
                  <a:moveTo>
                    <a:pt x="75921" y="50569"/>
                  </a:moveTo>
                  <a:lnTo>
                    <a:pt x="75921" y="353894"/>
                  </a:lnTo>
                  <a:lnTo>
                    <a:pt x="227854" y="353894"/>
                  </a:lnTo>
                  <a:cubicBezTo>
                    <a:pt x="234529" y="353894"/>
                    <a:pt x="241026" y="356560"/>
                    <a:pt x="245744" y="361271"/>
                  </a:cubicBezTo>
                  <a:lnTo>
                    <a:pt x="263634" y="379223"/>
                  </a:lnTo>
                  <a:lnTo>
                    <a:pt x="343916" y="379223"/>
                  </a:lnTo>
                  <a:lnTo>
                    <a:pt x="361896" y="361271"/>
                  </a:lnTo>
                  <a:cubicBezTo>
                    <a:pt x="366613" y="356560"/>
                    <a:pt x="373021" y="353894"/>
                    <a:pt x="379786" y="353894"/>
                  </a:cubicBezTo>
                  <a:lnTo>
                    <a:pt x="531629" y="353894"/>
                  </a:lnTo>
                  <a:lnTo>
                    <a:pt x="531629" y="50569"/>
                  </a:lnTo>
                  <a:close/>
                  <a:moveTo>
                    <a:pt x="75921" y="0"/>
                  </a:moveTo>
                  <a:lnTo>
                    <a:pt x="531629" y="0"/>
                  </a:lnTo>
                  <a:cubicBezTo>
                    <a:pt x="559576" y="0"/>
                    <a:pt x="582273" y="22663"/>
                    <a:pt x="582273" y="50569"/>
                  </a:cubicBezTo>
                  <a:lnTo>
                    <a:pt x="582273" y="353894"/>
                  </a:lnTo>
                  <a:cubicBezTo>
                    <a:pt x="596246" y="353894"/>
                    <a:pt x="607639" y="365181"/>
                    <a:pt x="607639" y="379223"/>
                  </a:cubicBezTo>
                  <a:lnTo>
                    <a:pt x="607639" y="455032"/>
                  </a:lnTo>
                  <a:cubicBezTo>
                    <a:pt x="607639" y="482938"/>
                    <a:pt x="584943" y="505601"/>
                    <a:pt x="556995" y="505601"/>
                  </a:cubicBezTo>
                  <a:lnTo>
                    <a:pt x="50644" y="505601"/>
                  </a:lnTo>
                  <a:cubicBezTo>
                    <a:pt x="22696" y="505601"/>
                    <a:pt x="0" y="482938"/>
                    <a:pt x="0" y="455032"/>
                  </a:cubicBezTo>
                  <a:lnTo>
                    <a:pt x="0" y="379223"/>
                  </a:lnTo>
                  <a:cubicBezTo>
                    <a:pt x="0" y="365181"/>
                    <a:pt x="11304" y="353894"/>
                    <a:pt x="25277" y="353894"/>
                  </a:cubicBezTo>
                  <a:lnTo>
                    <a:pt x="25277" y="50569"/>
                  </a:lnTo>
                  <a:cubicBezTo>
                    <a:pt x="25277" y="22663"/>
                    <a:pt x="47974" y="0"/>
                    <a:pt x="759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7" name="ïśḻïḍé">
              <a:extLst>
                <a:ext uri="{FF2B5EF4-FFF2-40B4-BE49-F238E27FC236}">
                  <a16:creationId xmlns:a16="http://schemas.microsoft.com/office/drawing/2014/main" id="{0C2B16E1-2016-48C0-96F5-A7EC2833E3DC}"/>
                </a:ext>
              </a:extLst>
            </p:cNvPr>
            <p:cNvSpPr txBox="1"/>
            <p:nvPr/>
          </p:nvSpPr>
          <p:spPr bwMode="auto">
            <a:xfrm>
              <a:off x="1230969" y="4540734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stack</a:t>
              </a:r>
              <a:endParaRPr lang="zh-CN" altLang="en-US" sz="2800" b="1" dirty="0"/>
            </a:p>
          </p:txBody>
        </p:sp>
        <p:sp>
          <p:nvSpPr>
            <p:cNvPr id="29" name="íšļíḓe">
              <a:extLst>
                <a:ext uri="{FF2B5EF4-FFF2-40B4-BE49-F238E27FC236}">
                  <a16:creationId xmlns:a16="http://schemas.microsoft.com/office/drawing/2014/main" id="{1946F6D0-0A3C-4B8F-A078-667A4F60FD51}"/>
                </a:ext>
              </a:extLst>
            </p:cNvPr>
            <p:cNvSpPr txBox="1"/>
            <p:nvPr/>
          </p:nvSpPr>
          <p:spPr bwMode="auto">
            <a:xfrm>
              <a:off x="9097724" y="1555414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 err="1"/>
                <a:t>priority_queue</a:t>
              </a:r>
              <a:endParaRPr lang="zh-CN" altLang="en-US" sz="2800" b="1" dirty="0"/>
            </a:p>
          </p:txBody>
        </p:sp>
        <p:sp>
          <p:nvSpPr>
            <p:cNvPr id="30" name="îšľíḍè">
              <a:extLst>
                <a:ext uri="{FF2B5EF4-FFF2-40B4-BE49-F238E27FC236}">
                  <a16:creationId xmlns:a16="http://schemas.microsoft.com/office/drawing/2014/main" id="{BDD5D5FA-C94D-4090-B7EB-DE09C9BB858D}"/>
                </a:ext>
              </a:extLst>
            </p:cNvPr>
            <p:cNvSpPr/>
            <p:nvPr/>
          </p:nvSpPr>
          <p:spPr bwMode="auto">
            <a:xfrm>
              <a:off x="8339800" y="1688530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íS1ïḑé">
              <a:extLst>
                <a:ext uri="{FF2B5EF4-FFF2-40B4-BE49-F238E27FC236}">
                  <a16:creationId xmlns:a16="http://schemas.microsoft.com/office/drawing/2014/main" id="{93E90B48-5ABA-4F7F-84F5-2EEE6A4B13AB}"/>
                </a:ext>
              </a:extLst>
            </p:cNvPr>
            <p:cNvSpPr/>
            <p:nvPr/>
          </p:nvSpPr>
          <p:spPr bwMode="auto">
            <a:xfrm>
              <a:off x="9101405" y="1938971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元素有次序的队列</a:t>
              </a:r>
              <a:endParaRPr lang="en-US" altLang="zh-CN" dirty="0"/>
            </a:p>
          </p:txBody>
        </p:sp>
        <p:sp>
          <p:nvSpPr>
            <p:cNvPr id="32" name="isḻiḍe">
              <a:extLst>
                <a:ext uri="{FF2B5EF4-FFF2-40B4-BE49-F238E27FC236}">
                  <a16:creationId xmlns:a16="http://schemas.microsoft.com/office/drawing/2014/main" id="{D1BD42C9-27FD-41C7-9A40-76193780632E}"/>
                </a:ext>
              </a:extLst>
            </p:cNvPr>
            <p:cNvSpPr txBox="1"/>
            <p:nvPr/>
          </p:nvSpPr>
          <p:spPr bwMode="auto">
            <a:xfrm>
              <a:off x="9097724" y="3008846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map</a:t>
              </a:r>
              <a:r>
                <a:rPr lang="zh-CN" altLang="en-US" sz="2800" b="1" dirty="0"/>
                <a:t>相关</a:t>
              </a:r>
            </a:p>
          </p:txBody>
        </p:sp>
        <p:sp>
          <p:nvSpPr>
            <p:cNvPr id="33" name="ïṣ1ïḓé">
              <a:extLst>
                <a:ext uri="{FF2B5EF4-FFF2-40B4-BE49-F238E27FC236}">
                  <a16:creationId xmlns:a16="http://schemas.microsoft.com/office/drawing/2014/main" id="{5128D76B-85A1-49C0-A3E0-F2EA50AE21A1}"/>
                </a:ext>
              </a:extLst>
            </p:cNvPr>
            <p:cNvSpPr/>
            <p:nvPr/>
          </p:nvSpPr>
          <p:spPr bwMode="auto">
            <a:xfrm>
              <a:off x="8311118" y="3037277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34" name="ïṡlïdê">
              <a:extLst>
                <a:ext uri="{FF2B5EF4-FFF2-40B4-BE49-F238E27FC236}">
                  <a16:creationId xmlns:a16="http://schemas.microsoft.com/office/drawing/2014/main" id="{36656940-73A2-4FFB-949F-C1E75CD23843}"/>
                </a:ext>
              </a:extLst>
            </p:cNvPr>
            <p:cNvSpPr/>
            <p:nvPr/>
          </p:nvSpPr>
          <p:spPr bwMode="auto">
            <a:xfrm>
              <a:off x="9101405" y="3583577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由</a:t>
              </a:r>
              <a:r>
                <a:rPr lang="en-US" altLang="zh-CN" dirty="0"/>
                <a:t>{</a:t>
              </a:r>
              <a:r>
                <a:rPr lang="zh-CN" altLang="en-US" dirty="0"/>
                <a:t>键</a:t>
              </a:r>
              <a:r>
                <a:rPr lang="en-US" altLang="zh-CN" dirty="0"/>
                <a:t>, </a:t>
              </a:r>
              <a:r>
                <a:rPr lang="zh-CN" altLang="en-US" dirty="0"/>
                <a:t>值</a:t>
              </a:r>
              <a:r>
                <a:rPr lang="en-US" altLang="zh-CN" dirty="0"/>
                <a:t>}</a:t>
              </a:r>
              <a:r>
                <a:rPr lang="zh-CN" altLang="en-US" dirty="0"/>
                <a:t>对组成的集合</a:t>
              </a:r>
              <a:endParaRPr lang="en-US" altLang="zh-CN" dirty="0"/>
            </a:p>
          </p:txBody>
        </p:sp>
        <p:sp>
          <p:nvSpPr>
            <p:cNvPr id="35" name="ïṩ1îḍe">
              <a:extLst>
                <a:ext uri="{FF2B5EF4-FFF2-40B4-BE49-F238E27FC236}">
                  <a16:creationId xmlns:a16="http://schemas.microsoft.com/office/drawing/2014/main" id="{A21CF65A-0107-4443-878D-7CC5AF2A7153}"/>
                </a:ext>
              </a:extLst>
            </p:cNvPr>
            <p:cNvSpPr txBox="1"/>
            <p:nvPr/>
          </p:nvSpPr>
          <p:spPr bwMode="auto">
            <a:xfrm>
              <a:off x="9063652" y="4684975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set</a:t>
              </a:r>
              <a:r>
                <a:rPr lang="zh-CN" altLang="en-US" sz="2800" b="1" dirty="0"/>
                <a:t>相关</a:t>
              </a:r>
            </a:p>
          </p:txBody>
        </p:sp>
        <p:sp>
          <p:nvSpPr>
            <p:cNvPr id="36" name="íṡḻîḑè">
              <a:extLst>
                <a:ext uri="{FF2B5EF4-FFF2-40B4-BE49-F238E27FC236}">
                  <a16:creationId xmlns:a16="http://schemas.microsoft.com/office/drawing/2014/main" id="{12A020C2-CA22-4974-B792-C3C605723CD8}"/>
                </a:ext>
              </a:extLst>
            </p:cNvPr>
            <p:cNvSpPr/>
            <p:nvPr/>
          </p:nvSpPr>
          <p:spPr bwMode="auto">
            <a:xfrm>
              <a:off x="8311118" y="4705370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3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îş1iďè">
              <a:extLst>
                <a:ext uri="{FF2B5EF4-FFF2-40B4-BE49-F238E27FC236}">
                  <a16:creationId xmlns:a16="http://schemas.microsoft.com/office/drawing/2014/main" id="{0C401AB4-E55B-431C-B621-468A0931AAEC}"/>
                </a:ext>
              </a:extLst>
            </p:cNvPr>
            <p:cNvSpPr/>
            <p:nvPr/>
          </p:nvSpPr>
          <p:spPr bwMode="auto">
            <a:xfrm>
              <a:off x="9063652" y="5067189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有序的集合</a:t>
              </a:r>
              <a:endParaRPr lang="en-US" altLang="zh-CN" dirty="0"/>
            </a:p>
          </p:txBody>
        </p:sp>
        <p:sp>
          <p:nvSpPr>
            <p:cNvPr id="42" name="iṩḻîdé">
              <a:extLst>
                <a:ext uri="{FF2B5EF4-FFF2-40B4-BE49-F238E27FC236}">
                  <a16:creationId xmlns:a16="http://schemas.microsoft.com/office/drawing/2014/main" id="{ACB0CEEF-6885-4D6C-985B-8A84E3A2F7A9}"/>
                </a:ext>
              </a:extLst>
            </p:cNvPr>
            <p:cNvSpPr/>
            <p:nvPr/>
          </p:nvSpPr>
          <p:spPr bwMode="auto">
            <a:xfrm>
              <a:off x="1208323" y="3516757"/>
              <a:ext cx="2642096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先进先出地值的排列</a:t>
              </a:r>
              <a:endParaRPr lang="en-US" altLang="zh-CN" dirty="0"/>
            </a:p>
          </p:txBody>
        </p:sp>
        <p:sp>
          <p:nvSpPr>
            <p:cNvPr id="43" name="îşľïḓê">
              <a:extLst>
                <a:ext uri="{FF2B5EF4-FFF2-40B4-BE49-F238E27FC236}">
                  <a16:creationId xmlns:a16="http://schemas.microsoft.com/office/drawing/2014/main" id="{7843E81F-D2E5-4FB1-8C2C-BE53EDC5B222}"/>
                </a:ext>
              </a:extLst>
            </p:cNvPr>
            <p:cNvSpPr txBox="1"/>
            <p:nvPr/>
          </p:nvSpPr>
          <p:spPr bwMode="auto">
            <a:xfrm>
              <a:off x="1272645" y="2992029"/>
              <a:ext cx="2642096" cy="41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/>
            <a:p>
              <a:pPr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queue</a:t>
              </a:r>
              <a:endParaRPr lang="zh-CN" altLang="en-US" sz="2800" b="1" dirty="0"/>
            </a:p>
          </p:txBody>
        </p: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71FE984A-45C8-49B8-9163-DCEFB793376E}"/>
                </a:ext>
              </a:extLst>
            </p:cNvPr>
            <p:cNvCxnSpPr/>
            <p:nvPr/>
          </p:nvCxnSpPr>
          <p:spPr>
            <a:xfrm>
              <a:off x="556689" y="2735977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B5C242E1-193D-4F29-8D50-7BBCFDCC9712}"/>
                </a:ext>
              </a:extLst>
            </p:cNvPr>
            <p:cNvCxnSpPr/>
            <p:nvPr/>
          </p:nvCxnSpPr>
          <p:spPr>
            <a:xfrm>
              <a:off x="597578" y="4278277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8683132C-A86E-4909-B4C7-7511157D9BC6}"/>
                </a:ext>
              </a:extLst>
            </p:cNvPr>
            <p:cNvCxnSpPr/>
            <p:nvPr/>
          </p:nvCxnSpPr>
          <p:spPr>
            <a:xfrm>
              <a:off x="685045" y="5753425"/>
              <a:ext cx="2973775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id="{78B396DC-E41B-4EB4-A1EB-6B65D04A3A3B}"/>
                </a:ext>
              </a:extLst>
            </p:cNvPr>
            <p:cNvCxnSpPr/>
            <p:nvPr/>
          </p:nvCxnSpPr>
          <p:spPr>
            <a:xfrm>
              <a:off x="8610599" y="2550239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EA9320C7-0CFA-4F7B-B2DA-3924BB75122D}"/>
                </a:ext>
              </a:extLst>
            </p:cNvPr>
            <p:cNvCxnSpPr/>
            <p:nvPr/>
          </p:nvCxnSpPr>
          <p:spPr>
            <a:xfrm>
              <a:off x="8509041" y="4365688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id="{D62F0B30-EE3A-4CFC-B89B-2A6AC31F16E3}"/>
                </a:ext>
              </a:extLst>
            </p:cNvPr>
            <p:cNvCxnSpPr/>
            <p:nvPr/>
          </p:nvCxnSpPr>
          <p:spPr>
            <a:xfrm>
              <a:off x="8513805" y="5753425"/>
              <a:ext cx="300668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íślïḍè">
              <a:extLst>
                <a:ext uri="{FF2B5EF4-FFF2-40B4-BE49-F238E27FC236}">
                  <a16:creationId xmlns:a16="http://schemas.microsoft.com/office/drawing/2014/main" id="{694DDAEF-9C1B-4F1D-AA44-7068EABE9701}"/>
                </a:ext>
              </a:extLst>
            </p:cNvPr>
            <p:cNvSpPr/>
            <p:nvPr/>
          </p:nvSpPr>
          <p:spPr bwMode="auto">
            <a:xfrm>
              <a:off x="685045" y="1676445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1</a:t>
              </a:r>
              <a:endParaRPr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ïṥḻïḍe">
              <a:extLst>
                <a:ext uri="{FF2B5EF4-FFF2-40B4-BE49-F238E27FC236}">
                  <a16:creationId xmlns:a16="http://schemas.microsoft.com/office/drawing/2014/main" id="{098B6671-18C0-442D-B08B-79EF7CD6814B}"/>
                </a:ext>
              </a:extLst>
            </p:cNvPr>
            <p:cNvSpPr/>
            <p:nvPr/>
          </p:nvSpPr>
          <p:spPr bwMode="auto">
            <a:xfrm>
              <a:off x="690250" y="3145208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Q2</a:t>
              </a:r>
            </a:p>
          </p:txBody>
        </p:sp>
        <p:sp>
          <p:nvSpPr>
            <p:cNvPr id="54" name="íṩḻïḍè">
              <a:extLst>
                <a:ext uri="{FF2B5EF4-FFF2-40B4-BE49-F238E27FC236}">
                  <a16:creationId xmlns:a16="http://schemas.microsoft.com/office/drawing/2014/main" id="{59DF501A-0C6E-4D72-AA4E-EA91C1AC4E6C}"/>
                </a:ext>
              </a:extLst>
            </p:cNvPr>
            <p:cNvSpPr/>
            <p:nvPr/>
          </p:nvSpPr>
          <p:spPr bwMode="auto">
            <a:xfrm>
              <a:off x="666135" y="4687507"/>
              <a:ext cx="504056" cy="504056"/>
            </a:xfrm>
            <a:prstGeom prst="roundRect">
              <a:avLst>
                <a:gd name="adj" fmla="val 11236"/>
              </a:avLst>
            </a:prstGeom>
            <a:solidFill>
              <a:schemeClr val="accent1"/>
            </a:solidFill>
            <a:ln w="19050">
              <a:noFill/>
            </a:ln>
            <a:ex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Q3</a:t>
              </a:r>
              <a:endParaRPr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06382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dirty="0">
                <a:solidFill>
                  <a:srgbClr val="0070C0"/>
                </a:solidFill>
              </a:rPr>
              <a:t>vector</a:t>
            </a:r>
            <a:endParaRPr lang="zh-CN" altLang="en-US" sz="4000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A461D7E-C1AD-4423-A199-5670E3524899}"/>
              </a:ext>
            </a:extLst>
          </p:cNvPr>
          <p:cNvSpPr txBox="1"/>
          <p:nvPr/>
        </p:nvSpPr>
        <p:spPr>
          <a:xfrm>
            <a:off x="820615" y="2519074"/>
            <a:ext cx="373050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/>
              <a:t>#include&lt;vector&g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/>
              <a:t>vector&lt;int&gt; 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vectot</a:t>
            </a:r>
            <a:r>
              <a:rPr lang="en-US" altLang="zh-CN" sz="2800" dirty="0"/>
              <a:t>&lt;int&gt; a(n, </a:t>
            </a:r>
            <a:r>
              <a:rPr lang="en-US" altLang="zh-CN" sz="2800" dirty="0" err="1"/>
              <a:t>val</a:t>
            </a:r>
            <a:r>
              <a:rPr lang="en-US" altLang="zh-CN" sz="2800" dirty="0"/>
              <a:t>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push_back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pop_back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size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resize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clear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empty</a:t>
            </a:r>
            <a:r>
              <a:rPr lang="en-US" altLang="zh-CN" sz="2800" dirty="0"/>
              <a:t>()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9A1A738-8141-4CC9-88DD-04690EAF67CA}"/>
              </a:ext>
            </a:extLst>
          </p:cNvPr>
          <p:cNvSpPr txBox="1"/>
          <p:nvPr/>
        </p:nvSpPr>
        <p:spPr>
          <a:xfrm>
            <a:off x="6238336" y="1512277"/>
            <a:ext cx="3453189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begin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end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erase</a:t>
            </a:r>
            <a:r>
              <a:rPr lang="en-US" altLang="zh-CN" sz="2800" dirty="0"/>
              <a:t>(p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erase</a:t>
            </a:r>
            <a:r>
              <a:rPr lang="en-US" altLang="zh-CN" sz="2800" dirty="0"/>
              <a:t>(beg, e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a.insert</a:t>
            </a:r>
            <a:r>
              <a:rPr lang="en-US" altLang="zh-CN" sz="2800" dirty="0"/>
              <a:t>(pos, </a:t>
            </a:r>
            <a:r>
              <a:rPr lang="en-US" altLang="zh-CN" sz="2800" dirty="0" err="1"/>
              <a:t>elem</a:t>
            </a:r>
            <a:r>
              <a:rPr lang="en-US" altLang="zh-CN" sz="2800" dirty="0"/>
              <a:t>)</a:t>
            </a:r>
          </a:p>
          <a:p>
            <a:endParaRPr lang="zh-CN" altLang="en-US" sz="28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907D6F7-20A9-486C-98D4-F95A04963163}"/>
              </a:ext>
            </a:extLst>
          </p:cNvPr>
          <p:cNvSpPr txBox="1"/>
          <p:nvPr/>
        </p:nvSpPr>
        <p:spPr>
          <a:xfrm>
            <a:off x="820615" y="1512277"/>
            <a:ext cx="41344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/>
              <a:t>不定长数组，可</a:t>
            </a:r>
            <a:r>
              <a:rPr lang="zh-CN" altLang="en-US" sz="2800" b="1" dirty="0">
                <a:solidFill>
                  <a:srgbClr val="FF0000"/>
                </a:solidFill>
              </a:rPr>
              <a:t>直接赋值</a:t>
            </a:r>
            <a:endParaRPr lang="en-US" altLang="zh-CN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164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7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28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83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83" tmFilter="0, 0; 0.125,0.2665; 0.25,0.4; 0.375,0.465; 0.5,0.5;  0.625,0.535; 0.75,0.6; 0.875,0.7335; 1,1">
                                          <p:stCondLst>
                                            <p:cond delay="83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41" tmFilter="0, 0; 0.125,0.2665; 0.25,0.4; 0.375,0.465; 0.5,0.5;  0.625,0.535; 0.75,0.6; 0.875,0.7335; 1,1">
                                          <p:stCondLst>
                                            <p:cond delay="16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1" tmFilter="0, 0; 0.125,0.2665; 0.25,0.4; 0.375,0.465; 0.5,0.5;  0.625,0.535; 0.75,0.6; 0.875,0.7335; 1,1">
                                          <p:stCondLst>
                                            <p:cond delay="207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" dur="3">
                                          <p:stCondLst>
                                            <p:cond delay="81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" dur="21" decel="50000">
                                          <p:stCondLst>
                                            <p:cond delay="8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3">
                                          <p:stCondLst>
                                            <p:cond delay="1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" dur="21" decel="50000">
                                          <p:stCondLst>
                                            <p:cond delay="167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3">
                                          <p:stCondLst>
                                            <p:cond delay="20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" dur="21" decel="50000">
                                          <p:stCondLst>
                                            <p:cond delay="2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3">
                                          <p:stCondLst>
                                            <p:cond delay="22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" dur="21" decel="50000">
                                          <p:stCondLst>
                                            <p:cond delay="22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dirty="0">
                <a:solidFill>
                  <a:srgbClr val="0070C0"/>
                </a:solidFill>
              </a:rPr>
              <a:t>queue</a:t>
            </a:r>
            <a:endParaRPr lang="zh-CN" altLang="en-US" sz="4000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CC3D613-4D84-40CE-AF8E-B8D01997853C}"/>
              </a:ext>
            </a:extLst>
          </p:cNvPr>
          <p:cNvSpPr txBox="1"/>
          <p:nvPr/>
        </p:nvSpPr>
        <p:spPr>
          <a:xfrm>
            <a:off x="961292" y="1488831"/>
            <a:ext cx="24224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rgbClr val="FF0000"/>
                </a:solidFill>
              </a:rPr>
              <a:t>FIFO</a:t>
            </a:r>
            <a:r>
              <a:rPr lang="zh-CN" altLang="en-US" sz="2400" dirty="0">
                <a:solidFill>
                  <a:srgbClr val="FF0000"/>
                </a:solidFill>
              </a:rPr>
              <a:t>：先进先出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40B4C0F-CE03-4666-AB4C-44EE423A800A}"/>
              </a:ext>
            </a:extLst>
          </p:cNvPr>
          <p:cNvSpPr txBox="1"/>
          <p:nvPr/>
        </p:nvSpPr>
        <p:spPr>
          <a:xfrm>
            <a:off x="961292" y="2410627"/>
            <a:ext cx="3409908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/>
              <a:t>#include&lt;queue&gt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/>
              <a:t>queue&lt;int&gt; Q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Q.push</a:t>
            </a:r>
            <a:r>
              <a:rPr lang="en-US" altLang="zh-CN" sz="28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Q.pop</a:t>
            </a:r>
            <a:r>
              <a:rPr lang="en-US" altLang="zh-CN" sz="28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Q.front</a:t>
            </a:r>
            <a:r>
              <a:rPr lang="en-US" altLang="zh-CN" sz="28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Q.empty</a:t>
            </a:r>
            <a:r>
              <a:rPr lang="en-US" altLang="zh-CN" sz="28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Q.size</a:t>
            </a:r>
            <a:r>
              <a:rPr lang="en-US" altLang="zh-CN" sz="2800" dirty="0"/>
              <a:t>()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407584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dirty="0">
                <a:solidFill>
                  <a:srgbClr val="0070C0"/>
                </a:solidFill>
              </a:rPr>
              <a:t>stack</a:t>
            </a:r>
            <a:endParaRPr lang="zh-CN" altLang="en-US" sz="4000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D12647C-AA7C-4EC3-8E3E-A5C79A39FB4B}"/>
              </a:ext>
            </a:extLst>
          </p:cNvPr>
          <p:cNvSpPr txBox="1"/>
          <p:nvPr/>
        </p:nvSpPr>
        <p:spPr>
          <a:xfrm>
            <a:off x="669924" y="1547446"/>
            <a:ext cx="24064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rgbClr val="FF0000"/>
                </a:solidFill>
              </a:rPr>
              <a:t>LIFO</a:t>
            </a:r>
            <a:r>
              <a:rPr lang="zh-CN" altLang="en-US" sz="2400" dirty="0">
                <a:solidFill>
                  <a:srgbClr val="FF0000"/>
                </a:solidFill>
              </a:rPr>
              <a:t>：后进先出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1EB3569-7F38-4F4E-A030-2A6983198AAA}"/>
              </a:ext>
            </a:extLst>
          </p:cNvPr>
          <p:cNvSpPr txBox="1"/>
          <p:nvPr/>
        </p:nvSpPr>
        <p:spPr>
          <a:xfrm>
            <a:off x="669924" y="2414954"/>
            <a:ext cx="3073277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/>
              <a:t>#include&lt;stack&g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/>
              <a:t>stack&lt;int&gt; 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S.empty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S.push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S.top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S.pop</a:t>
            </a:r>
            <a:r>
              <a:rPr lang="en-US" altLang="zh-CN" sz="2800" dirty="0"/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err="1"/>
              <a:t>S.size</a:t>
            </a:r>
            <a:r>
              <a:rPr lang="en-US" altLang="zh-CN" sz="2800" dirty="0"/>
              <a:t>()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2178516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dirty="0" err="1">
                <a:solidFill>
                  <a:srgbClr val="0070C0"/>
                </a:solidFill>
              </a:rPr>
              <a:t>priority_queue</a:t>
            </a:r>
            <a:endParaRPr lang="zh-CN" altLang="en-US" sz="4000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E4E1021-23D3-4800-A155-503576D222C4}"/>
              </a:ext>
            </a:extLst>
          </p:cNvPr>
          <p:cNvSpPr txBox="1"/>
          <p:nvPr/>
        </p:nvSpPr>
        <p:spPr>
          <a:xfrm>
            <a:off x="539262" y="1383323"/>
            <a:ext cx="980268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相同点：只能在队尾插入元素，在队首删除元素</a:t>
            </a:r>
            <a:endParaRPr lang="en-US" altLang="zh-CN" sz="2400" dirty="0"/>
          </a:p>
          <a:p>
            <a:r>
              <a:rPr lang="zh-CN" altLang="en-US" sz="2400" dirty="0"/>
              <a:t>特性：队列中优先级最大的元素总是位于队首</a:t>
            </a:r>
            <a:endParaRPr lang="en-US" altLang="zh-CN" sz="2400" dirty="0"/>
          </a:p>
          <a:p>
            <a:r>
              <a:rPr lang="zh-CN" altLang="en-US" sz="2400" dirty="0">
                <a:solidFill>
                  <a:srgbClr val="FF0000"/>
                </a:solidFill>
              </a:rPr>
              <a:t>默认规则按元素从大到小排序，可以重载</a:t>
            </a:r>
            <a:r>
              <a:rPr lang="en-US" altLang="zh-CN" sz="2400" dirty="0">
                <a:solidFill>
                  <a:srgbClr val="FF0000"/>
                </a:solidFill>
              </a:rPr>
              <a:t>”&lt;”</a:t>
            </a:r>
            <a:r>
              <a:rPr lang="zh-CN" altLang="en-US" sz="2400" dirty="0">
                <a:solidFill>
                  <a:srgbClr val="FF0000"/>
                </a:solidFill>
              </a:rPr>
              <a:t>操作符来重新定义比较规则</a:t>
            </a:r>
            <a:endParaRPr lang="en-US" altLang="zh-CN" sz="2400" dirty="0">
              <a:solidFill>
                <a:srgbClr val="FF0000"/>
              </a:solidFill>
            </a:endParaRPr>
          </a:p>
          <a:p>
            <a:r>
              <a:rPr lang="zh-CN" altLang="en-US" sz="2400" dirty="0"/>
              <a:t>读入队首元素：</a:t>
            </a:r>
            <a:r>
              <a:rPr lang="en-US" altLang="zh-CN" sz="2400" dirty="0" err="1"/>
              <a:t>Q.top</a:t>
            </a:r>
            <a:r>
              <a:rPr lang="en-US" altLang="zh-CN" sz="2400" dirty="0"/>
              <a:t>();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1C80BCD-F6DF-44CD-8B6A-71A232ACF5C7}"/>
              </a:ext>
            </a:extLst>
          </p:cNvPr>
          <p:cNvSpPr txBox="1"/>
          <p:nvPr/>
        </p:nvSpPr>
        <p:spPr>
          <a:xfrm>
            <a:off x="539262" y="3132024"/>
            <a:ext cx="538089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struct </a:t>
            </a:r>
            <a:r>
              <a:rPr lang="en-US" altLang="zh-CN" sz="2400" dirty="0" err="1"/>
              <a:t>lp</a:t>
            </a:r>
            <a:r>
              <a:rPr lang="en-US" altLang="zh-CN" sz="2400" dirty="0"/>
              <a:t>{</a:t>
            </a:r>
          </a:p>
          <a:p>
            <a:r>
              <a:rPr lang="en-US" altLang="zh-CN" sz="2400" dirty="0"/>
              <a:t>    int </a:t>
            </a:r>
            <a:r>
              <a:rPr lang="en-US" altLang="zh-CN" sz="2400" dirty="0" err="1"/>
              <a:t>val,id</a:t>
            </a:r>
            <a:r>
              <a:rPr lang="en-US" altLang="zh-CN" sz="2400" dirty="0"/>
              <a:t>;</a:t>
            </a:r>
          </a:p>
          <a:p>
            <a:r>
              <a:rPr lang="en-US" altLang="zh-CN" sz="2400" dirty="0"/>
              <a:t>    friend bool operator &lt;(const </a:t>
            </a:r>
            <a:r>
              <a:rPr lang="en-US" altLang="zh-CN" sz="2400" dirty="0" err="1"/>
              <a:t>lp</a:t>
            </a:r>
            <a:r>
              <a:rPr lang="en-US" altLang="zh-CN" sz="2400" dirty="0"/>
              <a:t> &amp;</a:t>
            </a:r>
            <a:r>
              <a:rPr lang="en-US" altLang="zh-CN" sz="2400" dirty="0" err="1"/>
              <a:t>a,const</a:t>
            </a:r>
            <a:r>
              <a:rPr lang="en-US" altLang="zh-CN" sz="2400" dirty="0"/>
              <a:t> </a:t>
            </a:r>
            <a:r>
              <a:rPr lang="en-US" altLang="zh-CN" sz="2400" dirty="0" err="1"/>
              <a:t>lp</a:t>
            </a:r>
            <a:r>
              <a:rPr lang="en-US" altLang="zh-CN" sz="2400" dirty="0"/>
              <a:t> &amp;b){</a:t>
            </a:r>
          </a:p>
          <a:p>
            <a:r>
              <a:rPr lang="en-US" altLang="zh-CN" sz="2400" dirty="0"/>
              <a:t>        if(</a:t>
            </a:r>
            <a:r>
              <a:rPr lang="en-US" altLang="zh-CN" sz="2400" dirty="0" err="1"/>
              <a:t>a.val</a:t>
            </a:r>
            <a:r>
              <a:rPr lang="en-US" altLang="zh-CN" sz="2400" dirty="0"/>
              <a:t>==</a:t>
            </a:r>
            <a:r>
              <a:rPr lang="en-US" altLang="zh-CN" sz="2400" dirty="0" err="1"/>
              <a:t>b.val</a:t>
            </a:r>
            <a:r>
              <a:rPr lang="en-US" altLang="zh-CN" sz="2400" dirty="0"/>
              <a:t>)return a.id&gt;b.id;</a:t>
            </a:r>
          </a:p>
          <a:p>
            <a:r>
              <a:rPr lang="en-US" altLang="zh-CN" sz="2400" dirty="0"/>
              <a:t>        return </a:t>
            </a:r>
            <a:r>
              <a:rPr lang="en-US" altLang="zh-CN" sz="2400" dirty="0" err="1"/>
              <a:t>a.val</a:t>
            </a:r>
            <a:r>
              <a:rPr lang="en-US" altLang="zh-CN" sz="2400" dirty="0"/>
              <a:t>&gt;</a:t>
            </a:r>
            <a:r>
              <a:rPr lang="en-US" altLang="zh-CN" sz="2400" dirty="0" err="1"/>
              <a:t>b.val</a:t>
            </a:r>
            <a:r>
              <a:rPr lang="en-US" altLang="zh-CN" sz="2400" dirty="0"/>
              <a:t>;</a:t>
            </a:r>
          </a:p>
          <a:p>
            <a:r>
              <a:rPr lang="en-US" altLang="zh-CN" sz="2400" dirty="0"/>
              <a:t>    }</a:t>
            </a:r>
          </a:p>
          <a:p>
            <a:r>
              <a:rPr lang="en-US" altLang="zh-CN" sz="2400" dirty="0"/>
              <a:t>};</a:t>
            </a:r>
          </a:p>
          <a:p>
            <a:r>
              <a:rPr lang="en-US" altLang="zh-CN" sz="2400" dirty="0" err="1"/>
              <a:t>priority_queue</a:t>
            </a:r>
            <a:r>
              <a:rPr lang="en-US" altLang="zh-CN" sz="2400" dirty="0"/>
              <a:t>&lt;</a:t>
            </a:r>
            <a:r>
              <a:rPr lang="en-US" altLang="zh-CN" sz="2400" dirty="0" err="1"/>
              <a:t>lp</a:t>
            </a:r>
            <a:r>
              <a:rPr lang="en-US" altLang="zh-CN" sz="2400" dirty="0"/>
              <a:t>&gt;Q;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4A23602-776C-4BA3-9C5D-DC9D3BE2DFB1}"/>
              </a:ext>
            </a:extLst>
          </p:cNvPr>
          <p:cNvSpPr txBox="1"/>
          <p:nvPr/>
        </p:nvSpPr>
        <p:spPr>
          <a:xfrm>
            <a:off x="4278924" y="2952983"/>
            <a:ext cx="67746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 err="1"/>
              <a:t>priority_queue</a:t>
            </a:r>
            <a:r>
              <a:rPr lang="en-US" altLang="zh-CN" sz="2400" dirty="0"/>
              <a:t>&lt;int&gt; </a:t>
            </a:r>
            <a:r>
              <a:rPr lang="en-US" altLang="zh-CN" sz="2400" dirty="0" err="1"/>
              <a:t>pq</a:t>
            </a:r>
            <a:r>
              <a:rPr lang="en-US" altLang="zh-CN" sz="2400" dirty="0"/>
              <a:t>;</a:t>
            </a:r>
          </a:p>
          <a:p>
            <a:r>
              <a:rPr lang="en-US" altLang="zh-CN" sz="2400" dirty="0" err="1"/>
              <a:t>priority_queue</a:t>
            </a:r>
            <a:r>
              <a:rPr lang="en-US" altLang="zh-CN" sz="2400" dirty="0"/>
              <a:t>&lt;</a:t>
            </a:r>
            <a:r>
              <a:rPr lang="en-US" altLang="zh-CN" sz="2400" dirty="0" err="1"/>
              <a:t>int,vector</a:t>
            </a:r>
            <a:r>
              <a:rPr lang="en-US" altLang="zh-CN" sz="2400" dirty="0"/>
              <a:t>&lt;int&gt;,greater&lt;int&gt; &gt; </a:t>
            </a:r>
            <a:r>
              <a:rPr lang="en-US" altLang="zh-CN" sz="2400" dirty="0" err="1"/>
              <a:t>pq</a:t>
            </a:r>
            <a:r>
              <a:rPr lang="en-US" altLang="zh-CN" sz="2400" dirty="0"/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107580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dirty="0">
                <a:solidFill>
                  <a:srgbClr val="0070C0"/>
                </a:solidFill>
              </a:rPr>
              <a:t>map</a:t>
            </a:r>
            <a:r>
              <a:rPr lang="zh-CN" altLang="en-US" sz="4000" dirty="0">
                <a:solidFill>
                  <a:srgbClr val="0070C0"/>
                </a:solidFill>
              </a:rPr>
              <a:t>相关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EED037-3A17-49B6-B9FB-B434E209FD07}"/>
              </a:ext>
            </a:extLst>
          </p:cNvPr>
          <p:cNvSpPr txBox="1"/>
          <p:nvPr/>
        </p:nvSpPr>
        <p:spPr>
          <a:xfrm>
            <a:off x="7143016" y="3834677"/>
            <a:ext cx="46386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迭代器：</a:t>
            </a:r>
            <a:endParaRPr lang="en-US" altLang="zh-CN" sz="2400" b="1" dirty="0"/>
          </a:p>
          <a:p>
            <a:endParaRPr lang="en-US" altLang="zh-CN" sz="2400" b="1" dirty="0"/>
          </a:p>
          <a:p>
            <a:r>
              <a:rPr lang="en-US" altLang="zh-CN" dirty="0"/>
              <a:t>map&lt;int, int&gt;:: iterator it;</a:t>
            </a:r>
          </a:p>
          <a:p>
            <a:r>
              <a:rPr lang="en-US" altLang="zh-CN" dirty="0"/>
              <a:t>it = </a:t>
            </a:r>
            <a:r>
              <a:rPr lang="en-US" altLang="zh-CN" dirty="0" err="1"/>
              <a:t>mp.find</a:t>
            </a:r>
            <a:r>
              <a:rPr lang="en-US" altLang="zh-CN" dirty="0"/>
              <a:t>(10);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C08CAB1-7B62-442B-B856-FF1EC8885664}"/>
              </a:ext>
            </a:extLst>
          </p:cNvPr>
          <p:cNvSpPr txBox="1"/>
          <p:nvPr/>
        </p:nvSpPr>
        <p:spPr>
          <a:xfrm>
            <a:off x="669924" y="1529976"/>
            <a:ext cx="534401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000" dirty="0"/>
              <a:t>由</a:t>
            </a:r>
            <a:r>
              <a:rPr lang="en-US" altLang="zh-CN" sz="2000" dirty="0"/>
              <a:t>{</a:t>
            </a:r>
            <a:r>
              <a:rPr lang="zh-CN" altLang="en-US" sz="2000" dirty="0"/>
              <a:t>键</a:t>
            </a:r>
            <a:r>
              <a:rPr lang="en-US" altLang="zh-CN" sz="2000" dirty="0"/>
              <a:t>, </a:t>
            </a:r>
            <a:r>
              <a:rPr lang="zh-CN" altLang="en-US" sz="2000" dirty="0"/>
              <a:t>值</a:t>
            </a:r>
            <a:r>
              <a:rPr lang="en-US" altLang="zh-CN" sz="2000" dirty="0"/>
              <a:t>}</a:t>
            </a:r>
            <a:r>
              <a:rPr lang="zh-CN" altLang="en-US" sz="2000" dirty="0"/>
              <a:t>对组成的集合</a:t>
            </a:r>
            <a:endParaRPr lang="en-US" altLang="zh-CN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/>
              <a:t>map</a:t>
            </a:r>
            <a:r>
              <a:rPr lang="en-US" altLang="zh-CN" sz="2000" dirty="0"/>
              <a:t>:</a:t>
            </a:r>
            <a:r>
              <a:rPr lang="zh-CN" altLang="en-US" sz="2000" dirty="0"/>
              <a:t>自动排序，底层实现为红黑树，复杂度均</a:t>
            </a:r>
            <a:r>
              <a:rPr lang="en-US" altLang="zh-CN" sz="2000" dirty="0"/>
              <a:t>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/>
              <a:t>multimap</a:t>
            </a:r>
            <a:r>
              <a:rPr lang="en-US" altLang="zh-CN" sz="2000" dirty="0"/>
              <a:t>:</a:t>
            </a:r>
            <a:r>
              <a:rPr lang="zh-CN" altLang="en-US" sz="2000" dirty="0"/>
              <a:t>允许重复的键，不支持</a:t>
            </a:r>
            <a:r>
              <a:rPr lang="en-US" altLang="zh-CN" sz="2000" dirty="0"/>
              <a:t>[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 err="1"/>
              <a:t>unordered_map</a:t>
            </a:r>
            <a:r>
              <a:rPr lang="en-US" altLang="zh-CN" sz="2000" dirty="0"/>
              <a:t>:</a:t>
            </a:r>
            <a:r>
              <a:rPr lang="zh-CN" altLang="en-US" sz="2000" dirty="0"/>
              <a:t>底层实现为哈希表，查找比</a:t>
            </a:r>
            <a:r>
              <a:rPr lang="en-US" altLang="zh-CN" sz="2000" dirty="0"/>
              <a:t>map</a:t>
            </a:r>
            <a:r>
              <a:rPr lang="zh-CN" altLang="en-US" sz="2000" dirty="0"/>
              <a:t>快</a:t>
            </a:r>
            <a:endParaRPr lang="en-US" altLang="zh-CN" sz="20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5692F44-BE14-4D98-8C31-3A0C83A09D8F}"/>
              </a:ext>
            </a:extLst>
          </p:cNvPr>
          <p:cNvSpPr txBox="1"/>
          <p:nvPr/>
        </p:nvSpPr>
        <p:spPr>
          <a:xfrm>
            <a:off x="669924" y="3758363"/>
            <a:ext cx="4923143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#include&lt;map&g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egin()          </a:t>
            </a:r>
            <a:r>
              <a:rPr lang="zh-CN" altLang="en-US" dirty="0"/>
              <a:t>返回指向</a:t>
            </a:r>
            <a:r>
              <a:rPr lang="en-US" altLang="zh-CN" dirty="0"/>
              <a:t>map</a:t>
            </a:r>
            <a:r>
              <a:rPr lang="zh-CN" altLang="en-US" dirty="0"/>
              <a:t>头部的迭代器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clear(</a:t>
            </a:r>
            <a:r>
              <a:rPr lang="zh-CN" altLang="en-US" dirty="0"/>
              <a:t>）         删除所有元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count()          </a:t>
            </a:r>
            <a:r>
              <a:rPr lang="zh-CN" altLang="en-US" dirty="0"/>
              <a:t>返回指定元素出现的次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empty()          </a:t>
            </a:r>
            <a:r>
              <a:rPr lang="zh-CN" altLang="en-US" dirty="0"/>
              <a:t>如果</a:t>
            </a:r>
            <a:r>
              <a:rPr lang="en-US" altLang="zh-CN" dirty="0"/>
              <a:t>map</a:t>
            </a:r>
            <a:r>
              <a:rPr lang="zh-CN" altLang="en-US" dirty="0"/>
              <a:t>为空则返回</a:t>
            </a:r>
            <a:r>
              <a:rPr lang="en-US" altLang="zh-CN" dirty="0"/>
              <a:t>tr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end()            </a:t>
            </a:r>
            <a:r>
              <a:rPr lang="zh-CN" altLang="en-US" dirty="0"/>
              <a:t>返回指向</a:t>
            </a:r>
            <a:r>
              <a:rPr lang="en-US" altLang="zh-CN" dirty="0"/>
              <a:t>map</a:t>
            </a:r>
            <a:r>
              <a:rPr lang="zh-CN" altLang="en-US" dirty="0"/>
              <a:t>末尾的迭代器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erase()          </a:t>
            </a:r>
            <a:r>
              <a:rPr lang="zh-CN" altLang="en-US" dirty="0"/>
              <a:t>删除一个元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ind()           </a:t>
            </a:r>
            <a:r>
              <a:rPr lang="zh-CN" altLang="en-US" dirty="0"/>
              <a:t>查找一个元素</a:t>
            </a:r>
            <a:r>
              <a:rPr lang="en-US" altLang="zh-CN" dirty="0"/>
              <a:t>,</a:t>
            </a:r>
            <a:r>
              <a:rPr lang="zh-CN" altLang="en-US" dirty="0"/>
              <a:t>若没找到返回</a:t>
            </a:r>
            <a:r>
              <a:rPr lang="en-US" altLang="zh-CN" dirty="0"/>
              <a:t>end</a:t>
            </a: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ze()           </a:t>
            </a:r>
            <a:r>
              <a:rPr lang="zh-CN" altLang="en-US" dirty="0"/>
              <a:t>返回</a:t>
            </a:r>
            <a:r>
              <a:rPr lang="en-US" altLang="zh-CN" dirty="0"/>
              <a:t>map</a:t>
            </a:r>
            <a:r>
              <a:rPr lang="zh-CN" altLang="en-US" dirty="0"/>
              <a:t>中元素的个数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insert()         </a:t>
            </a:r>
            <a:r>
              <a:rPr lang="zh-CN" altLang="en-US" dirty="0"/>
              <a:t>插入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0243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de63a4b-d2ab-44ec-9fbf-6e06dc96a8b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1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0000"/>
      </a:accent1>
      <a:accent2>
        <a:srgbClr val="717171"/>
      </a:accent2>
      <a:accent3>
        <a:srgbClr val="594A37"/>
      </a:accent3>
      <a:accent4>
        <a:srgbClr val="7E5D3B"/>
      </a:accent4>
      <a:accent5>
        <a:srgbClr val="70615B"/>
      </a:accent5>
      <a:accent6>
        <a:srgbClr val="2E3744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000"/>
    </a:accent1>
    <a:accent2>
      <a:srgbClr val="717171"/>
    </a:accent2>
    <a:accent3>
      <a:srgbClr val="594A37"/>
    </a:accent3>
    <a:accent4>
      <a:srgbClr val="7E5D3B"/>
    </a:accent4>
    <a:accent5>
      <a:srgbClr val="70615B"/>
    </a:accent5>
    <a:accent6>
      <a:srgbClr val="2E3744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24</TotalTime>
  <Words>1728</Words>
  <Application>Microsoft Office PowerPoint</Application>
  <PresentationFormat>宽屏</PresentationFormat>
  <Paragraphs>232</Paragraphs>
  <Slides>2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34" baseType="lpstr">
      <vt:lpstr>Arial</vt:lpstr>
      <vt:lpstr>Calibri</vt:lpstr>
      <vt:lpstr>Impact</vt:lpstr>
      <vt:lpstr>主题5</vt:lpstr>
      <vt:lpstr>think-cell Slide</vt:lpstr>
      <vt:lpstr>STL讲解&amp;&amp;DP入门</vt:lpstr>
      <vt:lpstr>Section Header Here</vt:lpstr>
      <vt:lpstr>标准模板库(Standard Template Library)</vt:lpstr>
      <vt:lpstr>目录</vt:lpstr>
      <vt:lpstr>vector</vt:lpstr>
      <vt:lpstr>queue</vt:lpstr>
      <vt:lpstr>stack</vt:lpstr>
      <vt:lpstr>priority_queue</vt:lpstr>
      <vt:lpstr>map相关</vt:lpstr>
      <vt:lpstr>set相关</vt:lpstr>
      <vt:lpstr>算法&lt;algorithm&gt;</vt:lpstr>
      <vt:lpstr>Section Header Here</vt:lpstr>
      <vt:lpstr>动态规划</vt:lpstr>
      <vt:lpstr>日常劝退</vt:lpstr>
      <vt:lpstr>数字三角形问题-hdu2084</vt:lpstr>
      <vt:lpstr>数字三角形问题</vt:lpstr>
      <vt:lpstr>数字三角形问题</vt:lpstr>
      <vt:lpstr>数字三角形问题</vt:lpstr>
      <vt:lpstr>LIS问题-poj2533hdu1257</vt:lpstr>
      <vt:lpstr>LIS问题</vt:lpstr>
      <vt:lpstr>0-1背包问题-hdu2602,uva12563</vt:lpstr>
      <vt:lpstr>0-1背包问题</vt:lpstr>
      <vt:lpstr>滚动数组优化</vt:lpstr>
      <vt:lpstr>滚动数组优化</vt:lpstr>
      <vt:lpstr>小结</vt:lpstr>
      <vt:lpstr>望大家能坚持下去，不忘初心</vt:lpstr>
      <vt:lpstr>而不是整天水群</vt:lpstr>
      <vt:lpstr>好了，再劝退一波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wolf Li</cp:lastModifiedBy>
  <cp:revision>90</cp:revision>
  <cp:lastPrinted>2018-09-03T16:00:00Z</cp:lastPrinted>
  <dcterms:created xsi:type="dcterms:W3CDTF">2018-09-03T16:00:00Z</dcterms:created>
  <dcterms:modified xsi:type="dcterms:W3CDTF">2018-12-07T08:5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